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media/image38.jpg" ContentType="image/jpeg"/>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1"/>
  </p:notesMasterIdLst>
  <p:sldIdLst>
    <p:sldId id="256" r:id="rId2"/>
    <p:sldId id="272" r:id="rId3"/>
    <p:sldId id="257" r:id="rId4"/>
    <p:sldId id="273" r:id="rId5"/>
    <p:sldId id="274" r:id="rId6"/>
    <p:sldId id="275" r:id="rId7"/>
    <p:sldId id="276" r:id="rId8"/>
    <p:sldId id="277" r:id="rId9"/>
    <p:sldId id="278" r:id="rId10"/>
    <p:sldId id="279" r:id="rId11"/>
    <p:sldId id="280" r:id="rId12"/>
    <p:sldId id="281" r:id="rId13"/>
    <p:sldId id="282" r:id="rId14"/>
    <p:sldId id="283" r:id="rId15"/>
    <p:sldId id="284" r:id="rId16"/>
    <p:sldId id="285" r:id="rId17"/>
    <p:sldId id="264" r:id="rId18"/>
    <p:sldId id="287" r:id="rId19"/>
    <p:sldId id="258" r:id="rId20"/>
    <p:sldId id="288" r:id="rId21"/>
    <p:sldId id="289" r:id="rId22"/>
    <p:sldId id="259" r:id="rId23"/>
    <p:sldId id="265" r:id="rId24"/>
    <p:sldId id="290" r:id="rId25"/>
    <p:sldId id="291" r:id="rId26"/>
    <p:sldId id="292" r:id="rId27"/>
    <p:sldId id="293" r:id="rId28"/>
    <p:sldId id="267" r:id="rId29"/>
    <p:sldId id="294" r:id="rId30"/>
  </p:sldIdLst>
  <p:sldSz cx="9144000" cy="5143500" type="screen16x9"/>
  <p:notesSz cx="9144000" cy="51435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8DA9"/>
    <a:srgbClr val="168491"/>
    <a:srgbClr val="F1A365"/>
    <a:srgbClr val="0B5394"/>
    <a:srgbClr val="1C1C1C"/>
    <a:srgbClr val="000000"/>
    <a:srgbClr val="D0E0E3"/>
    <a:srgbClr val="3D85C6"/>
    <a:srgbClr val="42B0E5"/>
    <a:srgbClr val="3F00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38" d="100"/>
          <a:sy n="138" d="100"/>
        </p:scale>
        <p:origin x="756" y="10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257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257175"/>
          </a:xfrm>
          <a:prstGeom prst="rect">
            <a:avLst/>
          </a:prstGeom>
        </p:spPr>
        <p:txBody>
          <a:bodyPr vert="horz" lIns="91440" tIns="45720" rIns="91440" bIns="45720" rtlCol="0"/>
          <a:lstStyle>
            <a:lvl1pPr algn="r">
              <a:defRPr sz="1200"/>
            </a:lvl1pPr>
          </a:lstStyle>
          <a:p>
            <a:fld id="{1007024D-9D06-4734-881D-49A4D55BD464}" type="datetimeFigureOut">
              <a:rPr lang="en-US" smtClean="0"/>
              <a:t>5/23/2021</a:t>
            </a:fld>
            <a:endParaRPr lang="en-US"/>
          </a:p>
        </p:txBody>
      </p:sp>
      <p:sp>
        <p:nvSpPr>
          <p:cNvPr id="4" name="Slide Image Placeholder 3"/>
          <p:cNvSpPr>
            <a:spLocks noGrp="1" noRot="1" noChangeAspect="1"/>
          </p:cNvSpPr>
          <p:nvPr>
            <p:ph type="sldImg" idx="2"/>
          </p:nvPr>
        </p:nvSpPr>
        <p:spPr>
          <a:xfrm>
            <a:off x="3028950" y="642938"/>
            <a:ext cx="3086100" cy="17367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2474913"/>
            <a:ext cx="7315200" cy="20256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4886325"/>
            <a:ext cx="3962400" cy="2571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4886325"/>
            <a:ext cx="3962400" cy="257175"/>
          </a:xfrm>
          <a:prstGeom prst="rect">
            <a:avLst/>
          </a:prstGeom>
        </p:spPr>
        <p:txBody>
          <a:bodyPr vert="horz" lIns="91440" tIns="45720" rIns="91440" bIns="45720" rtlCol="0" anchor="b"/>
          <a:lstStyle>
            <a:lvl1pPr algn="r">
              <a:defRPr sz="1200"/>
            </a:lvl1pPr>
          </a:lstStyle>
          <a:p>
            <a:fld id="{096F64F3-2A92-4BA3-8EF0-3300A035180E}" type="slidenum">
              <a:rPr lang="en-US" smtClean="0"/>
              <a:t>‹#›</a:t>
            </a:fld>
            <a:endParaRPr lang="en-US"/>
          </a:p>
        </p:txBody>
      </p:sp>
    </p:spTree>
    <p:extLst>
      <p:ext uri="{BB962C8B-B14F-4D97-AF65-F5344CB8AC3E}">
        <p14:creationId xmlns:p14="http://schemas.microsoft.com/office/powerpoint/2010/main" val="53120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6EBC21-0F05-4525-8C30-C1A37B51206C}" type="slidenum">
              <a:rPr lang="en-US" smtClean="0"/>
              <a:t>4</a:t>
            </a:fld>
            <a:endParaRPr lang="en-US"/>
          </a:p>
        </p:txBody>
      </p:sp>
    </p:spTree>
    <p:extLst>
      <p:ext uri="{BB962C8B-B14F-4D97-AF65-F5344CB8AC3E}">
        <p14:creationId xmlns:p14="http://schemas.microsoft.com/office/powerpoint/2010/main" val="3095806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6EBC21-0F05-4525-8C30-C1A37B51206C}" type="slidenum">
              <a:rPr lang="en-US" smtClean="0"/>
              <a:t>5</a:t>
            </a:fld>
            <a:endParaRPr lang="en-US"/>
          </a:p>
        </p:txBody>
      </p:sp>
    </p:spTree>
    <p:extLst>
      <p:ext uri="{BB962C8B-B14F-4D97-AF65-F5344CB8AC3E}">
        <p14:creationId xmlns:p14="http://schemas.microsoft.com/office/powerpoint/2010/main" val="3187019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6EBC21-0F05-4525-8C30-C1A37B51206C}" type="slidenum">
              <a:rPr lang="en-US" smtClean="0"/>
              <a:t>6</a:t>
            </a:fld>
            <a:endParaRPr lang="en-US"/>
          </a:p>
        </p:txBody>
      </p:sp>
    </p:spTree>
    <p:extLst>
      <p:ext uri="{BB962C8B-B14F-4D97-AF65-F5344CB8AC3E}">
        <p14:creationId xmlns:p14="http://schemas.microsoft.com/office/powerpoint/2010/main" val="2474268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6F64F3-2A92-4BA3-8EF0-3300A035180E}" type="slidenum">
              <a:rPr lang="en-US" smtClean="0"/>
              <a:t>20</a:t>
            </a:fld>
            <a:endParaRPr lang="en-US"/>
          </a:p>
        </p:txBody>
      </p:sp>
    </p:spTree>
    <p:extLst>
      <p:ext uri="{BB962C8B-B14F-4D97-AF65-F5344CB8AC3E}">
        <p14:creationId xmlns:p14="http://schemas.microsoft.com/office/powerpoint/2010/main" val="2422576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6F64F3-2A92-4BA3-8EF0-3300A035180E}" type="slidenum">
              <a:rPr lang="en-US" smtClean="0"/>
              <a:t>28</a:t>
            </a:fld>
            <a:endParaRPr lang="en-US"/>
          </a:p>
        </p:txBody>
      </p:sp>
    </p:spTree>
    <p:extLst>
      <p:ext uri="{BB962C8B-B14F-4D97-AF65-F5344CB8AC3E}">
        <p14:creationId xmlns:p14="http://schemas.microsoft.com/office/powerpoint/2010/main" val="2256394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image" Target="../media/image4.png"/><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24" y="0"/>
            <a:ext cx="9144000" cy="865505"/>
          </a:xfrm>
          <a:custGeom>
            <a:avLst/>
            <a:gdLst/>
            <a:ahLst/>
            <a:cxnLst/>
            <a:rect l="l" t="t" r="r" b="b"/>
            <a:pathLst>
              <a:path w="9144000" h="865505">
                <a:moveTo>
                  <a:pt x="9143999" y="864899"/>
                </a:moveTo>
                <a:lnTo>
                  <a:pt x="0" y="864899"/>
                </a:lnTo>
                <a:lnTo>
                  <a:pt x="0" y="0"/>
                </a:lnTo>
                <a:lnTo>
                  <a:pt x="9143999" y="0"/>
                </a:lnTo>
                <a:lnTo>
                  <a:pt x="9143999" y="864899"/>
                </a:lnTo>
                <a:close/>
              </a:path>
            </a:pathLst>
          </a:custGeom>
          <a:solidFill>
            <a:srgbClr val="F4F7FA"/>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2364043" y="1380233"/>
            <a:ext cx="1182003" cy="377466"/>
          </a:xfrm>
          <a:prstGeom prst="rect">
            <a:avLst/>
          </a:prstGeom>
        </p:spPr>
      </p:pic>
      <p:pic>
        <p:nvPicPr>
          <p:cNvPr id="18" name="bg object 18"/>
          <p:cNvPicPr/>
          <p:nvPr/>
        </p:nvPicPr>
        <p:blipFill>
          <a:blip r:embed="rId3" cstate="print"/>
          <a:stretch>
            <a:fillRect/>
          </a:stretch>
        </p:blipFill>
        <p:spPr>
          <a:xfrm>
            <a:off x="8596175" y="2810379"/>
            <a:ext cx="92642" cy="92641"/>
          </a:xfrm>
          <a:prstGeom prst="rect">
            <a:avLst/>
          </a:prstGeom>
        </p:spPr>
      </p:pic>
      <p:sp>
        <p:nvSpPr>
          <p:cNvPr id="2" name="Holder 2"/>
          <p:cNvSpPr>
            <a:spLocks noGrp="1"/>
          </p:cNvSpPr>
          <p:nvPr>
            <p:ph type="ctrTitle"/>
          </p:nvPr>
        </p:nvSpPr>
        <p:spPr>
          <a:xfrm>
            <a:off x="3253213" y="289124"/>
            <a:ext cx="2637573" cy="406400"/>
          </a:xfrm>
          <a:prstGeom prst="rect">
            <a:avLst/>
          </a:prstGeom>
        </p:spPr>
        <p:txBody>
          <a:bodyPr wrap="square" lIns="0" tIns="0" rIns="0" bIns="0">
            <a:spAutoFit/>
          </a:bodyPr>
          <a:lstStyle>
            <a:lvl1pPr>
              <a:defRPr sz="2500" b="1" i="0">
                <a:solidFill>
                  <a:schemeClr val="tx1"/>
                </a:solidFill>
                <a:latin typeface="Trebuchet MS"/>
                <a:cs typeface="Trebuchet MS"/>
              </a:defRPr>
            </a:lvl1pPr>
          </a:lstStyle>
          <a:p>
            <a:endParaRPr/>
          </a:p>
        </p:txBody>
      </p:sp>
      <p:sp>
        <p:nvSpPr>
          <p:cNvPr id="3" name="Holder 3"/>
          <p:cNvSpPr>
            <a:spLocks noGrp="1"/>
          </p:cNvSpPr>
          <p:nvPr>
            <p:ph type="subTitle" idx="4"/>
          </p:nvPr>
        </p:nvSpPr>
        <p:spPr>
          <a:xfrm>
            <a:off x="1371600" y="2880360"/>
            <a:ext cx="6400800" cy="128587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tx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tx1"/>
                </a:solidFill>
                <a:latin typeface="Trebuchet MS"/>
                <a:cs typeface="Trebuchet MS"/>
              </a:defRPr>
            </a:lvl1pPr>
          </a:lstStyle>
          <a:p>
            <a:endParaRPr/>
          </a:p>
        </p:txBody>
      </p:sp>
      <p:sp>
        <p:nvSpPr>
          <p:cNvPr id="3" name="Holder 3"/>
          <p:cNvSpPr>
            <a:spLocks noGrp="1"/>
          </p:cNvSpPr>
          <p:nvPr>
            <p:ph sz="half" idx="2"/>
          </p:nvPr>
        </p:nvSpPr>
        <p:spPr>
          <a:xfrm>
            <a:off x="1297724" y="1522118"/>
            <a:ext cx="3112770" cy="2632710"/>
          </a:xfrm>
          <a:prstGeom prst="rect">
            <a:avLst/>
          </a:prstGeom>
        </p:spPr>
        <p:txBody>
          <a:bodyPr wrap="square" lIns="0" tIns="0" rIns="0" bIns="0">
            <a:spAutoFit/>
          </a:bodyPr>
          <a:lstStyle>
            <a:lvl1pPr>
              <a:defRPr sz="1800" b="0" i="0">
                <a:solidFill>
                  <a:schemeClr val="tx1"/>
                </a:solidFill>
                <a:latin typeface="Gill Sans MT"/>
                <a:cs typeface="Gill Sans MT"/>
              </a:defRPr>
            </a:lvl1pPr>
          </a:lstStyle>
          <a:p>
            <a:endParaRPr/>
          </a:p>
        </p:txBody>
      </p:sp>
      <p:sp>
        <p:nvSpPr>
          <p:cNvPr id="4" name="Holder 4"/>
          <p:cNvSpPr>
            <a:spLocks noGrp="1"/>
          </p:cNvSpPr>
          <p:nvPr>
            <p:ph sz="half" idx="3"/>
          </p:nvPr>
        </p:nvSpPr>
        <p:spPr>
          <a:xfrm>
            <a:off x="4709160" y="1183005"/>
            <a:ext cx="3977640" cy="33947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1125220"/>
          </a:xfrm>
          <a:custGeom>
            <a:avLst/>
            <a:gdLst/>
            <a:ahLst/>
            <a:cxnLst/>
            <a:rect l="l" t="t" r="r" b="b"/>
            <a:pathLst>
              <a:path w="9144000" h="1125220">
                <a:moveTo>
                  <a:pt x="9143999" y="1124999"/>
                </a:moveTo>
                <a:lnTo>
                  <a:pt x="0" y="1124999"/>
                </a:lnTo>
                <a:lnTo>
                  <a:pt x="0" y="0"/>
                </a:lnTo>
                <a:lnTo>
                  <a:pt x="9143999" y="0"/>
                </a:lnTo>
                <a:lnTo>
                  <a:pt x="9143999" y="1124999"/>
                </a:lnTo>
                <a:close/>
              </a:path>
            </a:pathLst>
          </a:custGeom>
          <a:solidFill>
            <a:srgbClr val="F3F3F3"/>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1" i="0">
                <a:solidFill>
                  <a:schemeClr val="tx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882369" y="2481635"/>
            <a:ext cx="410209" cy="635000"/>
          </a:xfrm>
          <a:custGeom>
            <a:avLst/>
            <a:gdLst/>
            <a:ahLst/>
            <a:cxnLst/>
            <a:rect l="l" t="t" r="r" b="b"/>
            <a:pathLst>
              <a:path w="410209" h="635000">
                <a:moveTo>
                  <a:pt x="408231" y="634613"/>
                </a:moveTo>
                <a:lnTo>
                  <a:pt x="244635" y="634613"/>
                </a:lnTo>
                <a:lnTo>
                  <a:pt x="243862" y="633853"/>
                </a:lnTo>
                <a:lnTo>
                  <a:pt x="1521" y="394742"/>
                </a:lnTo>
                <a:lnTo>
                  <a:pt x="772" y="393982"/>
                </a:lnTo>
                <a:lnTo>
                  <a:pt x="0" y="393246"/>
                </a:lnTo>
                <a:lnTo>
                  <a:pt x="0" y="1495"/>
                </a:lnTo>
                <a:lnTo>
                  <a:pt x="2292" y="0"/>
                </a:lnTo>
                <a:lnTo>
                  <a:pt x="3813" y="0"/>
                </a:lnTo>
                <a:lnTo>
                  <a:pt x="6107" y="0"/>
                </a:lnTo>
                <a:lnTo>
                  <a:pt x="8400" y="1495"/>
                </a:lnTo>
                <a:lnTo>
                  <a:pt x="8400" y="390231"/>
                </a:lnTo>
                <a:lnTo>
                  <a:pt x="248449" y="627086"/>
                </a:lnTo>
                <a:lnTo>
                  <a:pt x="407459" y="627086"/>
                </a:lnTo>
                <a:lnTo>
                  <a:pt x="409752" y="628582"/>
                </a:lnTo>
                <a:lnTo>
                  <a:pt x="409752" y="633093"/>
                </a:lnTo>
                <a:lnTo>
                  <a:pt x="408231" y="634613"/>
                </a:lnTo>
                <a:close/>
              </a:path>
            </a:pathLst>
          </a:custGeom>
          <a:solidFill>
            <a:srgbClr val="CECECE"/>
          </a:solidFill>
        </p:spPr>
        <p:txBody>
          <a:bodyPr wrap="square" lIns="0" tIns="0" rIns="0" bIns="0" rtlCol="0"/>
          <a:lstStyle/>
          <a:p>
            <a:endParaRPr/>
          </a:p>
        </p:txBody>
      </p:sp>
      <p:sp>
        <p:nvSpPr>
          <p:cNvPr id="17" name="bg object 17"/>
          <p:cNvSpPr/>
          <p:nvPr/>
        </p:nvSpPr>
        <p:spPr>
          <a:xfrm>
            <a:off x="7574877" y="1962477"/>
            <a:ext cx="463550" cy="602615"/>
          </a:xfrm>
          <a:custGeom>
            <a:avLst/>
            <a:gdLst/>
            <a:ahLst/>
            <a:cxnLst/>
            <a:rect l="l" t="t" r="r" b="b"/>
            <a:pathLst>
              <a:path w="463550" h="602614">
                <a:moveTo>
                  <a:pt x="185011" y="602220"/>
                </a:moveTo>
                <a:lnTo>
                  <a:pt x="1719" y="602220"/>
                </a:lnTo>
                <a:lnTo>
                  <a:pt x="0" y="599594"/>
                </a:lnTo>
                <a:lnTo>
                  <a:pt x="0" y="595227"/>
                </a:lnTo>
                <a:lnTo>
                  <a:pt x="2593" y="592601"/>
                </a:lnTo>
                <a:lnTo>
                  <a:pt x="182418" y="592601"/>
                </a:lnTo>
                <a:lnTo>
                  <a:pt x="453889" y="317749"/>
                </a:lnTo>
                <a:lnTo>
                  <a:pt x="453889" y="1741"/>
                </a:lnTo>
                <a:lnTo>
                  <a:pt x="456482" y="0"/>
                </a:lnTo>
                <a:lnTo>
                  <a:pt x="459076" y="0"/>
                </a:lnTo>
                <a:lnTo>
                  <a:pt x="460796" y="0"/>
                </a:lnTo>
                <a:lnTo>
                  <a:pt x="463389" y="1741"/>
                </a:lnTo>
                <a:lnTo>
                  <a:pt x="463389" y="320375"/>
                </a:lnTo>
                <a:lnTo>
                  <a:pt x="462543" y="322116"/>
                </a:lnTo>
                <a:lnTo>
                  <a:pt x="187604" y="600478"/>
                </a:lnTo>
                <a:lnTo>
                  <a:pt x="186731" y="601363"/>
                </a:lnTo>
                <a:lnTo>
                  <a:pt x="185011" y="602220"/>
                </a:lnTo>
                <a:close/>
              </a:path>
            </a:pathLst>
          </a:custGeom>
          <a:solidFill>
            <a:srgbClr val="CECECE"/>
          </a:solidFill>
        </p:spPr>
        <p:txBody>
          <a:bodyPr wrap="square" lIns="0" tIns="0" rIns="0" bIns="0" rtlCol="0"/>
          <a:lstStyle/>
          <a:p>
            <a:endParaRPr/>
          </a:p>
        </p:txBody>
      </p:sp>
      <p:sp>
        <p:nvSpPr>
          <p:cNvPr id="18" name="bg object 18"/>
          <p:cNvSpPr/>
          <p:nvPr/>
        </p:nvSpPr>
        <p:spPr>
          <a:xfrm>
            <a:off x="7160628" y="1738756"/>
            <a:ext cx="421640" cy="677545"/>
          </a:xfrm>
          <a:custGeom>
            <a:avLst/>
            <a:gdLst/>
            <a:ahLst/>
            <a:cxnLst/>
            <a:rect l="l" t="t" r="r" b="b"/>
            <a:pathLst>
              <a:path w="421640" h="677544">
                <a:moveTo>
                  <a:pt x="421144" y="376021"/>
                </a:moveTo>
                <a:lnTo>
                  <a:pt x="420293" y="375170"/>
                </a:lnTo>
                <a:lnTo>
                  <a:pt x="237413" y="190601"/>
                </a:lnTo>
                <a:lnTo>
                  <a:pt x="247573" y="175679"/>
                </a:lnTo>
                <a:lnTo>
                  <a:pt x="257644" y="126314"/>
                </a:lnTo>
                <a:lnTo>
                  <a:pt x="249986" y="88874"/>
                </a:lnTo>
                <a:lnTo>
                  <a:pt x="249986" y="126314"/>
                </a:lnTo>
                <a:lnTo>
                  <a:pt x="240474" y="172491"/>
                </a:lnTo>
                <a:lnTo>
                  <a:pt x="231876" y="185013"/>
                </a:lnTo>
                <a:lnTo>
                  <a:pt x="139293" y="91554"/>
                </a:lnTo>
                <a:lnTo>
                  <a:pt x="138417" y="90665"/>
                </a:lnTo>
                <a:lnTo>
                  <a:pt x="137363" y="90246"/>
                </a:lnTo>
                <a:lnTo>
                  <a:pt x="136271" y="90246"/>
                </a:lnTo>
                <a:lnTo>
                  <a:pt x="135204" y="90246"/>
                </a:lnTo>
                <a:lnTo>
                  <a:pt x="134112" y="90665"/>
                </a:lnTo>
                <a:lnTo>
                  <a:pt x="133235" y="91554"/>
                </a:lnTo>
                <a:lnTo>
                  <a:pt x="131521" y="93294"/>
                </a:lnTo>
                <a:lnTo>
                  <a:pt x="131521" y="95923"/>
                </a:lnTo>
                <a:lnTo>
                  <a:pt x="133235" y="97688"/>
                </a:lnTo>
                <a:lnTo>
                  <a:pt x="226796" y="192417"/>
                </a:lnTo>
                <a:lnTo>
                  <a:pt x="214541" y="210261"/>
                </a:lnTo>
                <a:lnTo>
                  <a:pt x="176136" y="235762"/>
                </a:lnTo>
                <a:lnTo>
                  <a:pt x="129197" y="245122"/>
                </a:lnTo>
                <a:lnTo>
                  <a:pt x="82270" y="235762"/>
                </a:lnTo>
                <a:lnTo>
                  <a:pt x="43865" y="210261"/>
                </a:lnTo>
                <a:lnTo>
                  <a:pt x="17945" y="172491"/>
                </a:lnTo>
                <a:lnTo>
                  <a:pt x="8420" y="126314"/>
                </a:lnTo>
                <a:lnTo>
                  <a:pt x="17945" y="80162"/>
                </a:lnTo>
                <a:lnTo>
                  <a:pt x="43865" y="42392"/>
                </a:lnTo>
                <a:lnTo>
                  <a:pt x="82270" y="16891"/>
                </a:lnTo>
                <a:lnTo>
                  <a:pt x="129197" y="7531"/>
                </a:lnTo>
                <a:lnTo>
                  <a:pt x="176136" y="16891"/>
                </a:lnTo>
                <a:lnTo>
                  <a:pt x="214541" y="42392"/>
                </a:lnTo>
                <a:lnTo>
                  <a:pt x="240474" y="80162"/>
                </a:lnTo>
                <a:lnTo>
                  <a:pt x="249986" y="126314"/>
                </a:lnTo>
                <a:lnTo>
                  <a:pt x="249986" y="88874"/>
                </a:lnTo>
                <a:lnTo>
                  <a:pt x="247573" y="77076"/>
                </a:lnTo>
                <a:lnTo>
                  <a:pt x="220091" y="36944"/>
                </a:lnTo>
                <a:lnTo>
                  <a:pt x="179260" y="9906"/>
                </a:lnTo>
                <a:lnTo>
                  <a:pt x="167246" y="7531"/>
                </a:lnTo>
                <a:lnTo>
                  <a:pt x="129197" y="0"/>
                </a:lnTo>
                <a:lnTo>
                  <a:pt x="79019" y="9906"/>
                </a:lnTo>
                <a:lnTo>
                  <a:pt x="37934" y="36944"/>
                </a:lnTo>
                <a:lnTo>
                  <a:pt x="10185" y="77076"/>
                </a:lnTo>
                <a:lnTo>
                  <a:pt x="0" y="126314"/>
                </a:lnTo>
                <a:lnTo>
                  <a:pt x="10185" y="175679"/>
                </a:lnTo>
                <a:lnTo>
                  <a:pt x="37934" y="216090"/>
                </a:lnTo>
                <a:lnTo>
                  <a:pt x="79019" y="243382"/>
                </a:lnTo>
                <a:lnTo>
                  <a:pt x="129197" y="253415"/>
                </a:lnTo>
                <a:lnTo>
                  <a:pt x="170586" y="245122"/>
                </a:lnTo>
                <a:lnTo>
                  <a:pt x="179260" y="243382"/>
                </a:lnTo>
                <a:lnTo>
                  <a:pt x="220091" y="216090"/>
                </a:lnTo>
                <a:lnTo>
                  <a:pt x="232359" y="198043"/>
                </a:lnTo>
                <a:lnTo>
                  <a:pt x="412508" y="380415"/>
                </a:lnTo>
                <a:lnTo>
                  <a:pt x="412508" y="675386"/>
                </a:lnTo>
                <a:lnTo>
                  <a:pt x="414235" y="677164"/>
                </a:lnTo>
                <a:lnTo>
                  <a:pt x="419417" y="677164"/>
                </a:lnTo>
                <a:lnTo>
                  <a:pt x="421144" y="675386"/>
                </a:lnTo>
                <a:lnTo>
                  <a:pt x="421144" y="376021"/>
                </a:lnTo>
                <a:close/>
              </a:path>
            </a:pathLst>
          </a:custGeom>
          <a:solidFill>
            <a:srgbClr val="C4C4C4"/>
          </a:solidFill>
        </p:spPr>
        <p:txBody>
          <a:bodyPr wrap="square" lIns="0" tIns="0" rIns="0" bIns="0" rtlCol="0"/>
          <a:lstStyle/>
          <a:p>
            <a:endParaRPr/>
          </a:p>
        </p:txBody>
      </p:sp>
      <p:pic>
        <p:nvPicPr>
          <p:cNvPr id="19" name="bg object 19"/>
          <p:cNvPicPr/>
          <p:nvPr/>
        </p:nvPicPr>
        <p:blipFill>
          <a:blip r:embed="rId2" cstate="print"/>
          <a:stretch>
            <a:fillRect/>
          </a:stretch>
        </p:blipFill>
        <p:spPr>
          <a:xfrm>
            <a:off x="7198488" y="1775415"/>
            <a:ext cx="181937" cy="179327"/>
          </a:xfrm>
          <a:prstGeom prst="rect">
            <a:avLst/>
          </a:prstGeom>
        </p:spPr>
      </p:pic>
      <p:sp>
        <p:nvSpPr>
          <p:cNvPr id="20" name="bg object 20"/>
          <p:cNvSpPr/>
          <p:nvPr/>
        </p:nvSpPr>
        <p:spPr>
          <a:xfrm>
            <a:off x="4578954" y="4583203"/>
            <a:ext cx="3913504" cy="153035"/>
          </a:xfrm>
          <a:custGeom>
            <a:avLst/>
            <a:gdLst/>
            <a:ahLst/>
            <a:cxnLst/>
            <a:rect l="l" t="t" r="r" b="b"/>
            <a:pathLst>
              <a:path w="3913504" h="153035">
                <a:moveTo>
                  <a:pt x="1957101" y="152616"/>
                </a:moveTo>
                <a:lnTo>
                  <a:pt x="1874364" y="152550"/>
                </a:lnTo>
                <a:lnTo>
                  <a:pt x="1792502" y="152352"/>
                </a:lnTo>
                <a:lnTo>
                  <a:pt x="1711585" y="152027"/>
                </a:lnTo>
                <a:lnTo>
                  <a:pt x="1631679" y="151575"/>
                </a:lnTo>
                <a:lnTo>
                  <a:pt x="1552853" y="151000"/>
                </a:lnTo>
                <a:lnTo>
                  <a:pt x="1475175" y="150304"/>
                </a:lnTo>
                <a:lnTo>
                  <a:pt x="1398712" y="149490"/>
                </a:lnTo>
                <a:lnTo>
                  <a:pt x="1323533" y="148559"/>
                </a:lnTo>
                <a:lnTo>
                  <a:pt x="1249705" y="147516"/>
                </a:lnTo>
                <a:lnTo>
                  <a:pt x="1177297" y="146361"/>
                </a:lnTo>
                <a:lnTo>
                  <a:pt x="1106375" y="145098"/>
                </a:lnTo>
                <a:lnTo>
                  <a:pt x="1037009" y="143729"/>
                </a:lnTo>
                <a:lnTo>
                  <a:pt x="969265" y="142257"/>
                </a:lnTo>
                <a:lnTo>
                  <a:pt x="903212" y="140684"/>
                </a:lnTo>
                <a:lnTo>
                  <a:pt x="838918" y="139013"/>
                </a:lnTo>
                <a:lnTo>
                  <a:pt x="776451" y="137246"/>
                </a:lnTo>
                <a:lnTo>
                  <a:pt x="715878" y="135385"/>
                </a:lnTo>
                <a:lnTo>
                  <a:pt x="657267" y="133434"/>
                </a:lnTo>
                <a:lnTo>
                  <a:pt x="600687" y="131395"/>
                </a:lnTo>
                <a:lnTo>
                  <a:pt x="546205" y="129269"/>
                </a:lnTo>
                <a:lnTo>
                  <a:pt x="493889" y="127061"/>
                </a:lnTo>
                <a:lnTo>
                  <a:pt x="443807" y="124772"/>
                </a:lnTo>
                <a:lnTo>
                  <a:pt x="396027" y="122404"/>
                </a:lnTo>
                <a:lnTo>
                  <a:pt x="350616" y="119961"/>
                </a:lnTo>
                <a:lnTo>
                  <a:pt x="307644" y="117444"/>
                </a:lnTo>
                <a:lnTo>
                  <a:pt x="267177" y="114857"/>
                </a:lnTo>
                <a:lnTo>
                  <a:pt x="194030" y="109480"/>
                </a:lnTo>
                <a:lnTo>
                  <a:pt x="131721" y="103851"/>
                </a:lnTo>
                <a:lnTo>
                  <a:pt x="80792" y="97988"/>
                </a:lnTo>
                <a:lnTo>
                  <a:pt x="41786" y="91914"/>
                </a:lnTo>
                <a:lnTo>
                  <a:pt x="1716" y="79206"/>
                </a:lnTo>
                <a:lnTo>
                  <a:pt x="0" y="75928"/>
                </a:lnTo>
                <a:lnTo>
                  <a:pt x="1716" y="72707"/>
                </a:lnTo>
                <a:lnTo>
                  <a:pt x="41786" y="60199"/>
                </a:lnTo>
                <a:lnTo>
                  <a:pt x="80792" y="54208"/>
                </a:lnTo>
                <a:lnTo>
                  <a:pt x="131721" y="48419"/>
                </a:lnTo>
                <a:lnTo>
                  <a:pt x="194030" y="42854"/>
                </a:lnTo>
                <a:lnTo>
                  <a:pt x="267177" y="37534"/>
                </a:lnTo>
                <a:lnTo>
                  <a:pt x="307644" y="34971"/>
                </a:lnTo>
                <a:lnTo>
                  <a:pt x="350616" y="32478"/>
                </a:lnTo>
                <a:lnTo>
                  <a:pt x="396027" y="30056"/>
                </a:lnTo>
                <a:lnTo>
                  <a:pt x="443807" y="27708"/>
                </a:lnTo>
                <a:lnTo>
                  <a:pt x="493889" y="25436"/>
                </a:lnTo>
                <a:lnTo>
                  <a:pt x="546205" y="23244"/>
                </a:lnTo>
                <a:lnTo>
                  <a:pt x="600687" y="21133"/>
                </a:lnTo>
                <a:lnTo>
                  <a:pt x="657267" y="19107"/>
                </a:lnTo>
                <a:lnTo>
                  <a:pt x="715878" y="17167"/>
                </a:lnTo>
                <a:lnTo>
                  <a:pt x="776451" y="15317"/>
                </a:lnTo>
                <a:lnTo>
                  <a:pt x="838918" y="13559"/>
                </a:lnTo>
                <a:lnTo>
                  <a:pt x="903212" y="11896"/>
                </a:lnTo>
                <a:lnTo>
                  <a:pt x="969265" y="10330"/>
                </a:lnTo>
                <a:lnTo>
                  <a:pt x="1037009" y="8864"/>
                </a:lnTo>
                <a:lnTo>
                  <a:pt x="1106375" y="7500"/>
                </a:lnTo>
                <a:lnTo>
                  <a:pt x="1177297" y="6242"/>
                </a:lnTo>
                <a:lnTo>
                  <a:pt x="1249705" y="5090"/>
                </a:lnTo>
                <a:lnTo>
                  <a:pt x="1323533" y="4050"/>
                </a:lnTo>
                <a:lnTo>
                  <a:pt x="1398712" y="3121"/>
                </a:lnTo>
                <a:lnTo>
                  <a:pt x="1475175" y="2309"/>
                </a:lnTo>
                <a:lnTo>
                  <a:pt x="1552853" y="1614"/>
                </a:lnTo>
                <a:lnTo>
                  <a:pt x="1631679" y="1040"/>
                </a:lnTo>
                <a:lnTo>
                  <a:pt x="1711585" y="588"/>
                </a:lnTo>
                <a:lnTo>
                  <a:pt x="1792502" y="263"/>
                </a:lnTo>
                <a:lnTo>
                  <a:pt x="1874364" y="66"/>
                </a:lnTo>
                <a:lnTo>
                  <a:pt x="1957101" y="0"/>
                </a:lnTo>
                <a:lnTo>
                  <a:pt x="2039781" y="66"/>
                </a:lnTo>
                <a:lnTo>
                  <a:pt x="2121588" y="263"/>
                </a:lnTo>
                <a:lnTo>
                  <a:pt x="2202453" y="588"/>
                </a:lnTo>
                <a:lnTo>
                  <a:pt x="2282310" y="1040"/>
                </a:lnTo>
                <a:lnTo>
                  <a:pt x="2361089" y="1614"/>
                </a:lnTo>
                <a:lnTo>
                  <a:pt x="2438724" y="2309"/>
                </a:lnTo>
                <a:lnTo>
                  <a:pt x="2515145" y="3121"/>
                </a:lnTo>
                <a:lnTo>
                  <a:pt x="2590286" y="4050"/>
                </a:lnTo>
                <a:lnTo>
                  <a:pt x="2664077" y="5090"/>
                </a:lnTo>
                <a:lnTo>
                  <a:pt x="2736452" y="6242"/>
                </a:lnTo>
                <a:lnTo>
                  <a:pt x="2807342" y="7500"/>
                </a:lnTo>
                <a:lnTo>
                  <a:pt x="2876679" y="8864"/>
                </a:lnTo>
                <a:lnTo>
                  <a:pt x="2944395" y="10330"/>
                </a:lnTo>
                <a:lnTo>
                  <a:pt x="3010422" y="11896"/>
                </a:lnTo>
                <a:lnTo>
                  <a:pt x="3074693" y="13559"/>
                </a:lnTo>
                <a:lnTo>
                  <a:pt x="3137138" y="15317"/>
                </a:lnTo>
                <a:lnTo>
                  <a:pt x="3197692" y="17167"/>
                </a:lnTo>
                <a:lnTo>
                  <a:pt x="3256284" y="19107"/>
                </a:lnTo>
                <a:lnTo>
                  <a:pt x="3312848" y="21133"/>
                </a:lnTo>
                <a:lnTo>
                  <a:pt x="3367315" y="23244"/>
                </a:lnTo>
                <a:lnTo>
                  <a:pt x="3419618" y="25436"/>
                </a:lnTo>
                <a:lnTo>
                  <a:pt x="3469688" y="27708"/>
                </a:lnTo>
                <a:lnTo>
                  <a:pt x="3517457" y="30056"/>
                </a:lnTo>
                <a:lnTo>
                  <a:pt x="3562858" y="32478"/>
                </a:lnTo>
                <a:lnTo>
                  <a:pt x="3605823" y="34971"/>
                </a:lnTo>
                <a:lnTo>
                  <a:pt x="3646283" y="37534"/>
                </a:lnTo>
                <a:lnTo>
                  <a:pt x="3719418" y="42854"/>
                </a:lnTo>
                <a:lnTo>
                  <a:pt x="3781719" y="48419"/>
                </a:lnTo>
                <a:lnTo>
                  <a:pt x="3832643" y="54208"/>
                </a:lnTo>
                <a:lnTo>
                  <a:pt x="3871647" y="60199"/>
                </a:lnTo>
                <a:lnTo>
                  <a:pt x="3911715" y="72707"/>
                </a:lnTo>
                <a:lnTo>
                  <a:pt x="3913431" y="75928"/>
                </a:lnTo>
                <a:lnTo>
                  <a:pt x="3911715" y="79206"/>
                </a:lnTo>
                <a:lnTo>
                  <a:pt x="3871647" y="91914"/>
                </a:lnTo>
                <a:lnTo>
                  <a:pt x="3832643" y="97988"/>
                </a:lnTo>
                <a:lnTo>
                  <a:pt x="3781719" y="103851"/>
                </a:lnTo>
                <a:lnTo>
                  <a:pt x="3719418" y="109480"/>
                </a:lnTo>
                <a:lnTo>
                  <a:pt x="3646283" y="114857"/>
                </a:lnTo>
                <a:lnTo>
                  <a:pt x="3605823" y="117444"/>
                </a:lnTo>
                <a:lnTo>
                  <a:pt x="3562858" y="119961"/>
                </a:lnTo>
                <a:lnTo>
                  <a:pt x="3517457" y="122404"/>
                </a:lnTo>
                <a:lnTo>
                  <a:pt x="3469688" y="124772"/>
                </a:lnTo>
                <a:lnTo>
                  <a:pt x="3419618" y="127061"/>
                </a:lnTo>
                <a:lnTo>
                  <a:pt x="3367315" y="129269"/>
                </a:lnTo>
                <a:lnTo>
                  <a:pt x="3312848" y="131395"/>
                </a:lnTo>
                <a:lnTo>
                  <a:pt x="3256284" y="133434"/>
                </a:lnTo>
                <a:lnTo>
                  <a:pt x="3197692" y="135385"/>
                </a:lnTo>
                <a:lnTo>
                  <a:pt x="3137138" y="137246"/>
                </a:lnTo>
                <a:lnTo>
                  <a:pt x="3074693" y="139013"/>
                </a:lnTo>
                <a:lnTo>
                  <a:pt x="3010422" y="140684"/>
                </a:lnTo>
                <a:lnTo>
                  <a:pt x="2944395" y="142257"/>
                </a:lnTo>
                <a:lnTo>
                  <a:pt x="2876679" y="143729"/>
                </a:lnTo>
                <a:lnTo>
                  <a:pt x="2807342" y="145098"/>
                </a:lnTo>
                <a:lnTo>
                  <a:pt x="2736452" y="146361"/>
                </a:lnTo>
                <a:lnTo>
                  <a:pt x="2664077" y="147516"/>
                </a:lnTo>
                <a:lnTo>
                  <a:pt x="2590286" y="148559"/>
                </a:lnTo>
                <a:lnTo>
                  <a:pt x="2515145" y="149490"/>
                </a:lnTo>
                <a:lnTo>
                  <a:pt x="2438724" y="150304"/>
                </a:lnTo>
                <a:lnTo>
                  <a:pt x="2361089" y="151000"/>
                </a:lnTo>
                <a:lnTo>
                  <a:pt x="2282310" y="151575"/>
                </a:lnTo>
                <a:lnTo>
                  <a:pt x="2202453" y="152027"/>
                </a:lnTo>
                <a:lnTo>
                  <a:pt x="2121588" y="152352"/>
                </a:lnTo>
                <a:lnTo>
                  <a:pt x="2039781" y="152550"/>
                </a:lnTo>
                <a:lnTo>
                  <a:pt x="1957101" y="152616"/>
                </a:lnTo>
                <a:close/>
              </a:path>
            </a:pathLst>
          </a:custGeom>
          <a:solidFill>
            <a:srgbClr val="B7B7B7"/>
          </a:solidFill>
        </p:spPr>
        <p:txBody>
          <a:bodyPr wrap="square" lIns="0" tIns="0" rIns="0" bIns="0" rtlCol="0"/>
          <a:lstStyle/>
          <a:p>
            <a:endParaRPr/>
          </a:p>
        </p:txBody>
      </p:sp>
      <p:sp>
        <p:nvSpPr>
          <p:cNvPr id="21" name="bg object 21"/>
          <p:cNvSpPr/>
          <p:nvPr/>
        </p:nvSpPr>
        <p:spPr>
          <a:xfrm>
            <a:off x="4190321" y="3308777"/>
            <a:ext cx="598170" cy="324485"/>
          </a:xfrm>
          <a:custGeom>
            <a:avLst/>
            <a:gdLst/>
            <a:ahLst/>
            <a:cxnLst/>
            <a:rect l="l" t="t" r="r" b="b"/>
            <a:pathLst>
              <a:path w="598170" h="324485">
                <a:moveTo>
                  <a:pt x="505166" y="324029"/>
                </a:moveTo>
                <a:lnTo>
                  <a:pt x="92911" y="324029"/>
                </a:lnTo>
                <a:lnTo>
                  <a:pt x="56768" y="315907"/>
                </a:lnTo>
                <a:lnTo>
                  <a:pt x="27232" y="293767"/>
                </a:lnTo>
                <a:lnTo>
                  <a:pt x="7308" y="260945"/>
                </a:lnTo>
                <a:lnTo>
                  <a:pt x="0" y="220779"/>
                </a:lnTo>
                <a:lnTo>
                  <a:pt x="0" y="103287"/>
                </a:lnTo>
                <a:lnTo>
                  <a:pt x="7308" y="63116"/>
                </a:lnTo>
                <a:lnTo>
                  <a:pt x="27232" y="30281"/>
                </a:lnTo>
                <a:lnTo>
                  <a:pt x="56768" y="8127"/>
                </a:lnTo>
                <a:lnTo>
                  <a:pt x="92911" y="0"/>
                </a:lnTo>
                <a:lnTo>
                  <a:pt x="505166" y="0"/>
                </a:lnTo>
                <a:lnTo>
                  <a:pt x="541310" y="8127"/>
                </a:lnTo>
                <a:lnTo>
                  <a:pt x="570846" y="30281"/>
                </a:lnTo>
                <a:lnTo>
                  <a:pt x="590770" y="63116"/>
                </a:lnTo>
                <a:lnTo>
                  <a:pt x="598078" y="103287"/>
                </a:lnTo>
                <a:lnTo>
                  <a:pt x="598078" y="220779"/>
                </a:lnTo>
                <a:lnTo>
                  <a:pt x="590770" y="260945"/>
                </a:lnTo>
                <a:lnTo>
                  <a:pt x="570846" y="293767"/>
                </a:lnTo>
                <a:lnTo>
                  <a:pt x="541310" y="315907"/>
                </a:lnTo>
                <a:lnTo>
                  <a:pt x="505166" y="324029"/>
                </a:lnTo>
                <a:close/>
              </a:path>
            </a:pathLst>
          </a:custGeom>
          <a:solidFill>
            <a:srgbClr val="3D85C6"/>
          </a:solidFill>
        </p:spPr>
        <p:txBody>
          <a:bodyPr wrap="square" lIns="0" tIns="0" rIns="0" bIns="0" rtlCol="0"/>
          <a:lstStyle/>
          <a:p>
            <a:endParaRPr/>
          </a:p>
        </p:txBody>
      </p:sp>
      <p:sp>
        <p:nvSpPr>
          <p:cNvPr id="22" name="bg object 22"/>
          <p:cNvSpPr/>
          <p:nvPr/>
        </p:nvSpPr>
        <p:spPr>
          <a:xfrm>
            <a:off x="4336618" y="3413226"/>
            <a:ext cx="303530" cy="115570"/>
          </a:xfrm>
          <a:custGeom>
            <a:avLst/>
            <a:gdLst/>
            <a:ahLst/>
            <a:cxnLst/>
            <a:rect l="l" t="t" r="r" b="b"/>
            <a:pathLst>
              <a:path w="303529" h="115570">
                <a:moveTo>
                  <a:pt x="167678" y="8318"/>
                </a:moveTo>
                <a:lnTo>
                  <a:pt x="160223" y="0"/>
                </a:lnTo>
                <a:lnTo>
                  <a:pt x="17094" y="0"/>
                </a:lnTo>
                <a:lnTo>
                  <a:pt x="7480" y="0"/>
                </a:lnTo>
                <a:lnTo>
                  <a:pt x="0" y="8318"/>
                </a:lnTo>
                <a:lnTo>
                  <a:pt x="0" y="17805"/>
                </a:lnTo>
                <a:lnTo>
                  <a:pt x="1320" y="25285"/>
                </a:lnTo>
                <a:lnTo>
                  <a:pt x="4940" y="31318"/>
                </a:lnTo>
                <a:lnTo>
                  <a:pt x="10375" y="35344"/>
                </a:lnTo>
                <a:lnTo>
                  <a:pt x="17094" y="36804"/>
                </a:lnTo>
                <a:lnTo>
                  <a:pt x="150609" y="36804"/>
                </a:lnTo>
                <a:lnTo>
                  <a:pt x="157340" y="35344"/>
                </a:lnTo>
                <a:lnTo>
                  <a:pt x="162750" y="31318"/>
                </a:lnTo>
                <a:lnTo>
                  <a:pt x="166370" y="25285"/>
                </a:lnTo>
                <a:lnTo>
                  <a:pt x="167678" y="17805"/>
                </a:lnTo>
                <a:lnTo>
                  <a:pt x="167678" y="8318"/>
                </a:lnTo>
                <a:close/>
              </a:path>
              <a:path w="303529" h="115570">
                <a:moveTo>
                  <a:pt x="302272" y="85458"/>
                </a:moveTo>
                <a:lnTo>
                  <a:pt x="294792" y="77165"/>
                </a:lnTo>
                <a:lnTo>
                  <a:pt x="113220" y="77165"/>
                </a:lnTo>
                <a:lnTo>
                  <a:pt x="106489" y="78625"/>
                </a:lnTo>
                <a:lnTo>
                  <a:pt x="101066" y="82651"/>
                </a:lnTo>
                <a:lnTo>
                  <a:pt x="97434" y="88658"/>
                </a:lnTo>
                <a:lnTo>
                  <a:pt x="96113" y="96139"/>
                </a:lnTo>
                <a:lnTo>
                  <a:pt x="97434" y="103619"/>
                </a:lnTo>
                <a:lnTo>
                  <a:pt x="101066" y="109651"/>
                </a:lnTo>
                <a:lnTo>
                  <a:pt x="106489" y="113677"/>
                </a:lnTo>
                <a:lnTo>
                  <a:pt x="113220" y="115138"/>
                </a:lnTo>
                <a:lnTo>
                  <a:pt x="286258" y="115138"/>
                </a:lnTo>
                <a:lnTo>
                  <a:pt x="292963" y="113677"/>
                </a:lnTo>
                <a:lnTo>
                  <a:pt x="298259" y="109651"/>
                </a:lnTo>
                <a:lnTo>
                  <a:pt x="301561" y="103619"/>
                </a:lnTo>
                <a:lnTo>
                  <a:pt x="302272" y="96139"/>
                </a:lnTo>
                <a:lnTo>
                  <a:pt x="302272" y="85458"/>
                </a:lnTo>
                <a:close/>
              </a:path>
              <a:path w="303529" h="115570">
                <a:moveTo>
                  <a:pt x="303326" y="8318"/>
                </a:moveTo>
                <a:lnTo>
                  <a:pt x="294792" y="0"/>
                </a:lnTo>
                <a:lnTo>
                  <a:pt x="227507" y="0"/>
                </a:lnTo>
                <a:lnTo>
                  <a:pt x="217893" y="0"/>
                </a:lnTo>
                <a:lnTo>
                  <a:pt x="210413" y="8318"/>
                </a:lnTo>
                <a:lnTo>
                  <a:pt x="210413" y="17805"/>
                </a:lnTo>
                <a:lnTo>
                  <a:pt x="211734" y="25285"/>
                </a:lnTo>
                <a:lnTo>
                  <a:pt x="215353" y="31318"/>
                </a:lnTo>
                <a:lnTo>
                  <a:pt x="220789" y="35344"/>
                </a:lnTo>
                <a:lnTo>
                  <a:pt x="227507" y="36804"/>
                </a:lnTo>
                <a:lnTo>
                  <a:pt x="286258" y="36804"/>
                </a:lnTo>
                <a:lnTo>
                  <a:pt x="292976" y="35344"/>
                </a:lnTo>
                <a:lnTo>
                  <a:pt x="298399" y="31318"/>
                </a:lnTo>
                <a:lnTo>
                  <a:pt x="302006" y="25285"/>
                </a:lnTo>
                <a:lnTo>
                  <a:pt x="303326" y="17805"/>
                </a:lnTo>
                <a:lnTo>
                  <a:pt x="303326" y="8318"/>
                </a:lnTo>
                <a:close/>
              </a:path>
            </a:pathLst>
          </a:custGeom>
          <a:solidFill>
            <a:srgbClr val="FFFFFF"/>
          </a:solidFill>
        </p:spPr>
        <p:txBody>
          <a:bodyPr wrap="square" lIns="0" tIns="0" rIns="0" bIns="0" rtlCol="0"/>
          <a:lstStyle/>
          <a:p>
            <a:endParaRPr/>
          </a:p>
        </p:txBody>
      </p:sp>
      <p:sp>
        <p:nvSpPr>
          <p:cNvPr id="23" name="bg object 23"/>
          <p:cNvSpPr/>
          <p:nvPr/>
        </p:nvSpPr>
        <p:spPr>
          <a:xfrm>
            <a:off x="7344022" y="2377383"/>
            <a:ext cx="484505" cy="238125"/>
          </a:xfrm>
          <a:custGeom>
            <a:avLst/>
            <a:gdLst/>
            <a:ahLst/>
            <a:cxnLst/>
            <a:rect l="l" t="t" r="r" b="b"/>
            <a:pathLst>
              <a:path w="484504" h="238125">
                <a:moveTo>
                  <a:pt x="408953" y="238090"/>
                </a:moveTo>
                <a:lnTo>
                  <a:pt x="74364" y="238090"/>
                </a:lnTo>
                <a:lnTo>
                  <a:pt x="45239" y="232100"/>
                </a:lnTo>
                <a:lnTo>
                  <a:pt x="21621" y="215771"/>
                </a:lnTo>
                <a:lnTo>
                  <a:pt x="5784" y="191565"/>
                </a:lnTo>
                <a:lnTo>
                  <a:pt x="0" y="161942"/>
                </a:lnTo>
                <a:lnTo>
                  <a:pt x="0" y="75291"/>
                </a:lnTo>
                <a:lnTo>
                  <a:pt x="5784" y="45802"/>
                </a:lnTo>
                <a:lnTo>
                  <a:pt x="21621" y="21890"/>
                </a:lnTo>
                <a:lnTo>
                  <a:pt x="45239" y="5856"/>
                </a:lnTo>
                <a:lnTo>
                  <a:pt x="74364" y="0"/>
                </a:lnTo>
                <a:lnTo>
                  <a:pt x="408953" y="0"/>
                </a:lnTo>
                <a:lnTo>
                  <a:pt x="438211" y="5856"/>
                </a:lnTo>
                <a:lnTo>
                  <a:pt x="462120" y="21890"/>
                </a:lnTo>
                <a:lnTo>
                  <a:pt x="478248" y="45802"/>
                </a:lnTo>
                <a:lnTo>
                  <a:pt x="484164" y="75291"/>
                </a:lnTo>
                <a:lnTo>
                  <a:pt x="484164" y="161942"/>
                </a:lnTo>
                <a:lnTo>
                  <a:pt x="478248" y="191565"/>
                </a:lnTo>
                <a:lnTo>
                  <a:pt x="462120" y="215771"/>
                </a:lnTo>
                <a:lnTo>
                  <a:pt x="438211" y="232100"/>
                </a:lnTo>
                <a:lnTo>
                  <a:pt x="408953" y="238090"/>
                </a:lnTo>
                <a:close/>
              </a:path>
            </a:pathLst>
          </a:custGeom>
          <a:solidFill>
            <a:srgbClr val="222831"/>
          </a:solidFill>
        </p:spPr>
        <p:txBody>
          <a:bodyPr wrap="square" lIns="0" tIns="0" rIns="0" bIns="0" rtlCol="0"/>
          <a:lstStyle/>
          <a:p>
            <a:endParaRPr/>
          </a:p>
        </p:txBody>
      </p:sp>
      <p:sp>
        <p:nvSpPr>
          <p:cNvPr id="24" name="bg object 24"/>
          <p:cNvSpPr/>
          <p:nvPr/>
        </p:nvSpPr>
        <p:spPr>
          <a:xfrm>
            <a:off x="7406259" y="2449169"/>
            <a:ext cx="359410" cy="93980"/>
          </a:xfrm>
          <a:custGeom>
            <a:avLst/>
            <a:gdLst/>
            <a:ahLst/>
            <a:cxnLst/>
            <a:rect l="l" t="t" r="r" b="b"/>
            <a:pathLst>
              <a:path w="359409" h="93980">
                <a:moveTo>
                  <a:pt x="108953" y="6997"/>
                </a:moveTo>
                <a:lnTo>
                  <a:pt x="102895" y="0"/>
                </a:lnTo>
                <a:lnTo>
                  <a:pt x="13843" y="0"/>
                </a:lnTo>
                <a:lnTo>
                  <a:pt x="6934" y="0"/>
                </a:lnTo>
                <a:lnTo>
                  <a:pt x="0" y="6997"/>
                </a:lnTo>
                <a:lnTo>
                  <a:pt x="0" y="21894"/>
                </a:lnTo>
                <a:lnTo>
                  <a:pt x="6934" y="28003"/>
                </a:lnTo>
                <a:lnTo>
                  <a:pt x="102895" y="28003"/>
                </a:lnTo>
                <a:lnTo>
                  <a:pt x="108953" y="21894"/>
                </a:lnTo>
                <a:lnTo>
                  <a:pt x="108953" y="6997"/>
                </a:lnTo>
                <a:close/>
              </a:path>
              <a:path w="359409" h="93980">
                <a:moveTo>
                  <a:pt x="205790" y="6997"/>
                </a:moveTo>
                <a:lnTo>
                  <a:pt x="199732" y="0"/>
                </a:lnTo>
                <a:lnTo>
                  <a:pt x="150456" y="0"/>
                </a:lnTo>
                <a:lnTo>
                  <a:pt x="142671" y="0"/>
                </a:lnTo>
                <a:lnTo>
                  <a:pt x="136613" y="6997"/>
                </a:lnTo>
                <a:lnTo>
                  <a:pt x="136613" y="21894"/>
                </a:lnTo>
                <a:lnTo>
                  <a:pt x="142671" y="28003"/>
                </a:lnTo>
                <a:lnTo>
                  <a:pt x="199732" y="28003"/>
                </a:lnTo>
                <a:lnTo>
                  <a:pt x="205790" y="21894"/>
                </a:lnTo>
                <a:lnTo>
                  <a:pt x="205790" y="6997"/>
                </a:lnTo>
                <a:close/>
              </a:path>
              <a:path w="359409" h="93980">
                <a:moveTo>
                  <a:pt x="285318" y="72644"/>
                </a:moveTo>
                <a:lnTo>
                  <a:pt x="279285" y="65646"/>
                </a:lnTo>
                <a:lnTo>
                  <a:pt x="150456" y="65646"/>
                </a:lnTo>
                <a:lnTo>
                  <a:pt x="142671" y="65646"/>
                </a:lnTo>
                <a:lnTo>
                  <a:pt x="136613" y="72644"/>
                </a:lnTo>
                <a:lnTo>
                  <a:pt x="136613" y="87541"/>
                </a:lnTo>
                <a:lnTo>
                  <a:pt x="142671" y="93675"/>
                </a:lnTo>
                <a:lnTo>
                  <a:pt x="279285" y="93675"/>
                </a:lnTo>
                <a:lnTo>
                  <a:pt x="285318" y="87541"/>
                </a:lnTo>
                <a:lnTo>
                  <a:pt x="285318" y="72644"/>
                </a:lnTo>
                <a:close/>
              </a:path>
              <a:path w="359409" h="93980">
                <a:moveTo>
                  <a:pt x="358813" y="6997"/>
                </a:moveTo>
                <a:lnTo>
                  <a:pt x="352755" y="0"/>
                </a:lnTo>
                <a:lnTo>
                  <a:pt x="313855" y="0"/>
                </a:lnTo>
                <a:lnTo>
                  <a:pt x="306070" y="0"/>
                </a:lnTo>
                <a:lnTo>
                  <a:pt x="300037" y="6997"/>
                </a:lnTo>
                <a:lnTo>
                  <a:pt x="300037" y="21894"/>
                </a:lnTo>
                <a:lnTo>
                  <a:pt x="306070" y="28003"/>
                </a:lnTo>
                <a:lnTo>
                  <a:pt x="352755" y="28003"/>
                </a:lnTo>
                <a:lnTo>
                  <a:pt x="358813" y="21894"/>
                </a:lnTo>
                <a:lnTo>
                  <a:pt x="358813" y="6997"/>
                </a:lnTo>
                <a:close/>
              </a:path>
            </a:pathLst>
          </a:custGeom>
          <a:solidFill>
            <a:srgbClr val="FFFFFF"/>
          </a:solidFill>
        </p:spPr>
        <p:txBody>
          <a:bodyPr wrap="square" lIns="0" tIns="0" rIns="0" bIns="0" rtlCol="0"/>
          <a:lstStyle/>
          <a:p>
            <a:endParaRPr/>
          </a:p>
        </p:txBody>
      </p:sp>
      <p:sp>
        <p:nvSpPr>
          <p:cNvPr id="25" name="bg object 25"/>
          <p:cNvSpPr/>
          <p:nvPr/>
        </p:nvSpPr>
        <p:spPr>
          <a:xfrm>
            <a:off x="5179078" y="2629750"/>
            <a:ext cx="528320" cy="234950"/>
          </a:xfrm>
          <a:custGeom>
            <a:avLst/>
            <a:gdLst/>
            <a:ahLst/>
            <a:cxnLst/>
            <a:rect l="l" t="t" r="r" b="b"/>
            <a:pathLst>
              <a:path w="528320" h="234950">
                <a:moveTo>
                  <a:pt x="447140" y="234752"/>
                </a:moveTo>
                <a:lnTo>
                  <a:pt x="82064" y="234752"/>
                </a:lnTo>
                <a:lnTo>
                  <a:pt x="50140" y="228846"/>
                </a:lnTo>
                <a:lnTo>
                  <a:pt x="24053" y="212746"/>
                </a:lnTo>
                <a:lnTo>
                  <a:pt x="6455" y="188879"/>
                </a:lnTo>
                <a:lnTo>
                  <a:pt x="0" y="159672"/>
                </a:lnTo>
                <a:lnTo>
                  <a:pt x="0" y="74235"/>
                </a:lnTo>
                <a:lnTo>
                  <a:pt x="6455" y="45160"/>
                </a:lnTo>
                <a:lnTo>
                  <a:pt x="24053" y="21583"/>
                </a:lnTo>
                <a:lnTo>
                  <a:pt x="50140" y="5774"/>
                </a:lnTo>
                <a:lnTo>
                  <a:pt x="82064" y="0"/>
                </a:lnTo>
                <a:lnTo>
                  <a:pt x="447140" y="0"/>
                </a:lnTo>
                <a:lnTo>
                  <a:pt x="478919" y="5774"/>
                </a:lnTo>
                <a:lnTo>
                  <a:pt x="504689" y="21583"/>
                </a:lnTo>
                <a:lnTo>
                  <a:pt x="521969" y="45160"/>
                </a:lnTo>
                <a:lnTo>
                  <a:pt x="528280" y="74235"/>
                </a:lnTo>
                <a:lnTo>
                  <a:pt x="528280" y="159672"/>
                </a:lnTo>
                <a:lnTo>
                  <a:pt x="521969" y="188879"/>
                </a:lnTo>
                <a:lnTo>
                  <a:pt x="504689" y="212746"/>
                </a:lnTo>
                <a:lnTo>
                  <a:pt x="478919" y="228846"/>
                </a:lnTo>
                <a:lnTo>
                  <a:pt x="447140" y="234752"/>
                </a:lnTo>
                <a:close/>
              </a:path>
            </a:pathLst>
          </a:custGeom>
          <a:solidFill>
            <a:srgbClr val="222831"/>
          </a:solidFill>
        </p:spPr>
        <p:txBody>
          <a:bodyPr wrap="square" lIns="0" tIns="0" rIns="0" bIns="0" rtlCol="0"/>
          <a:lstStyle/>
          <a:p>
            <a:endParaRPr/>
          </a:p>
        </p:txBody>
      </p:sp>
      <p:sp>
        <p:nvSpPr>
          <p:cNvPr id="26" name="bg object 26"/>
          <p:cNvSpPr/>
          <p:nvPr/>
        </p:nvSpPr>
        <p:spPr>
          <a:xfrm>
            <a:off x="5289435" y="2691053"/>
            <a:ext cx="358140" cy="90170"/>
          </a:xfrm>
          <a:custGeom>
            <a:avLst/>
            <a:gdLst/>
            <a:ahLst/>
            <a:cxnLst/>
            <a:rect l="l" t="t" r="r" b="b"/>
            <a:pathLst>
              <a:path w="358139" h="90169">
                <a:moveTo>
                  <a:pt x="76403" y="6019"/>
                </a:moveTo>
                <a:lnTo>
                  <a:pt x="69824" y="0"/>
                </a:lnTo>
                <a:lnTo>
                  <a:pt x="15100" y="0"/>
                </a:lnTo>
                <a:lnTo>
                  <a:pt x="6604" y="0"/>
                </a:lnTo>
                <a:lnTo>
                  <a:pt x="0" y="6019"/>
                </a:lnTo>
                <a:lnTo>
                  <a:pt x="0" y="21551"/>
                </a:lnTo>
                <a:lnTo>
                  <a:pt x="6604" y="27597"/>
                </a:lnTo>
                <a:lnTo>
                  <a:pt x="69824" y="27597"/>
                </a:lnTo>
                <a:lnTo>
                  <a:pt x="76403" y="21551"/>
                </a:lnTo>
                <a:lnTo>
                  <a:pt x="76403" y="6019"/>
                </a:lnTo>
                <a:close/>
              </a:path>
              <a:path w="358139" h="90169">
                <a:moveTo>
                  <a:pt x="177355" y="6019"/>
                </a:moveTo>
                <a:lnTo>
                  <a:pt x="170738" y="0"/>
                </a:lnTo>
                <a:lnTo>
                  <a:pt x="136779" y="0"/>
                </a:lnTo>
                <a:lnTo>
                  <a:pt x="129247" y="0"/>
                </a:lnTo>
                <a:lnTo>
                  <a:pt x="122631" y="6019"/>
                </a:lnTo>
                <a:lnTo>
                  <a:pt x="122631" y="21551"/>
                </a:lnTo>
                <a:lnTo>
                  <a:pt x="129247" y="27597"/>
                </a:lnTo>
                <a:lnTo>
                  <a:pt x="170738" y="27597"/>
                </a:lnTo>
                <a:lnTo>
                  <a:pt x="177355" y="21551"/>
                </a:lnTo>
                <a:lnTo>
                  <a:pt x="177355" y="6019"/>
                </a:lnTo>
                <a:close/>
              </a:path>
              <a:path w="358139" h="90169">
                <a:moveTo>
                  <a:pt x="255625" y="68186"/>
                </a:moveTo>
                <a:lnTo>
                  <a:pt x="249047" y="62128"/>
                </a:lnTo>
                <a:lnTo>
                  <a:pt x="128295" y="62128"/>
                </a:lnTo>
                <a:lnTo>
                  <a:pt x="119799" y="62128"/>
                </a:lnTo>
                <a:lnTo>
                  <a:pt x="113182" y="68186"/>
                </a:lnTo>
                <a:lnTo>
                  <a:pt x="113182" y="82842"/>
                </a:lnTo>
                <a:lnTo>
                  <a:pt x="119799" y="89738"/>
                </a:lnTo>
                <a:lnTo>
                  <a:pt x="249047" y="89738"/>
                </a:lnTo>
                <a:lnTo>
                  <a:pt x="255625" y="83718"/>
                </a:lnTo>
                <a:lnTo>
                  <a:pt x="255625" y="68186"/>
                </a:lnTo>
                <a:close/>
              </a:path>
              <a:path w="358139" h="90169">
                <a:moveTo>
                  <a:pt x="357530" y="68186"/>
                </a:moveTo>
                <a:lnTo>
                  <a:pt x="350913" y="62128"/>
                </a:lnTo>
                <a:lnTo>
                  <a:pt x="309422" y="62128"/>
                </a:lnTo>
                <a:lnTo>
                  <a:pt x="301853" y="62128"/>
                </a:lnTo>
                <a:lnTo>
                  <a:pt x="295275" y="68186"/>
                </a:lnTo>
                <a:lnTo>
                  <a:pt x="295275" y="82842"/>
                </a:lnTo>
                <a:lnTo>
                  <a:pt x="301853" y="89738"/>
                </a:lnTo>
                <a:lnTo>
                  <a:pt x="350913" y="89738"/>
                </a:lnTo>
                <a:lnTo>
                  <a:pt x="357530" y="83718"/>
                </a:lnTo>
                <a:lnTo>
                  <a:pt x="357530" y="68186"/>
                </a:lnTo>
                <a:close/>
              </a:path>
            </a:pathLst>
          </a:custGeom>
          <a:solidFill>
            <a:srgbClr val="FFFFFF"/>
          </a:solidFill>
        </p:spPr>
        <p:txBody>
          <a:bodyPr wrap="square" lIns="0" tIns="0" rIns="0" bIns="0" rtlCol="0"/>
          <a:lstStyle/>
          <a:p>
            <a:endParaRPr/>
          </a:p>
        </p:txBody>
      </p:sp>
      <p:sp>
        <p:nvSpPr>
          <p:cNvPr id="27" name="bg object 27"/>
          <p:cNvSpPr/>
          <p:nvPr/>
        </p:nvSpPr>
        <p:spPr>
          <a:xfrm>
            <a:off x="7050552" y="2767353"/>
            <a:ext cx="1336040" cy="1864995"/>
          </a:xfrm>
          <a:custGeom>
            <a:avLst/>
            <a:gdLst/>
            <a:ahLst/>
            <a:cxnLst/>
            <a:rect l="l" t="t" r="r" b="b"/>
            <a:pathLst>
              <a:path w="1336040" h="1864995">
                <a:moveTo>
                  <a:pt x="1230825" y="1864712"/>
                </a:moveTo>
                <a:lnTo>
                  <a:pt x="104742" y="1864712"/>
                </a:lnTo>
                <a:lnTo>
                  <a:pt x="64189" y="1856536"/>
                </a:lnTo>
                <a:lnTo>
                  <a:pt x="30871" y="1834265"/>
                </a:lnTo>
                <a:lnTo>
                  <a:pt x="8303" y="1801278"/>
                </a:lnTo>
                <a:lnTo>
                  <a:pt x="0" y="1760957"/>
                </a:lnTo>
                <a:lnTo>
                  <a:pt x="0" y="103018"/>
                </a:lnTo>
                <a:lnTo>
                  <a:pt x="8303" y="62812"/>
                </a:lnTo>
                <a:lnTo>
                  <a:pt x="30871" y="30078"/>
                </a:lnTo>
                <a:lnTo>
                  <a:pt x="64189" y="8060"/>
                </a:lnTo>
                <a:lnTo>
                  <a:pt x="104742" y="0"/>
                </a:lnTo>
                <a:lnTo>
                  <a:pt x="1230825" y="0"/>
                </a:lnTo>
                <a:lnTo>
                  <a:pt x="1271705" y="8060"/>
                </a:lnTo>
                <a:lnTo>
                  <a:pt x="1304987" y="30078"/>
                </a:lnTo>
                <a:lnTo>
                  <a:pt x="1327374" y="62812"/>
                </a:lnTo>
                <a:lnTo>
                  <a:pt x="1335569" y="103018"/>
                </a:lnTo>
                <a:lnTo>
                  <a:pt x="1335569" y="1760957"/>
                </a:lnTo>
                <a:lnTo>
                  <a:pt x="1327374" y="1801278"/>
                </a:lnTo>
                <a:lnTo>
                  <a:pt x="1304987" y="1834265"/>
                </a:lnTo>
                <a:lnTo>
                  <a:pt x="1271705" y="1856536"/>
                </a:lnTo>
                <a:lnTo>
                  <a:pt x="1230825" y="1864712"/>
                </a:lnTo>
                <a:close/>
              </a:path>
            </a:pathLst>
          </a:custGeom>
          <a:solidFill>
            <a:srgbClr val="79C6E4"/>
          </a:solidFill>
        </p:spPr>
        <p:txBody>
          <a:bodyPr wrap="square" lIns="0" tIns="0" rIns="0" bIns="0" rtlCol="0"/>
          <a:lstStyle/>
          <a:p>
            <a:endParaRPr/>
          </a:p>
        </p:txBody>
      </p:sp>
      <p:sp>
        <p:nvSpPr>
          <p:cNvPr id="28" name="bg object 28"/>
          <p:cNvSpPr/>
          <p:nvPr/>
        </p:nvSpPr>
        <p:spPr>
          <a:xfrm>
            <a:off x="7146122" y="2939533"/>
            <a:ext cx="1130300" cy="1537335"/>
          </a:xfrm>
          <a:custGeom>
            <a:avLst/>
            <a:gdLst/>
            <a:ahLst/>
            <a:cxnLst/>
            <a:rect l="l" t="t" r="r" b="b"/>
            <a:pathLst>
              <a:path w="1130300" h="1537335">
                <a:moveTo>
                  <a:pt x="1129921" y="1536899"/>
                </a:moveTo>
                <a:lnTo>
                  <a:pt x="0" y="1536899"/>
                </a:lnTo>
                <a:lnTo>
                  <a:pt x="0" y="0"/>
                </a:lnTo>
                <a:lnTo>
                  <a:pt x="1129921" y="0"/>
                </a:lnTo>
                <a:lnTo>
                  <a:pt x="1129921" y="1536899"/>
                </a:lnTo>
                <a:close/>
              </a:path>
            </a:pathLst>
          </a:custGeom>
          <a:solidFill>
            <a:srgbClr val="FFFFFF"/>
          </a:solidFill>
        </p:spPr>
        <p:txBody>
          <a:bodyPr wrap="square" lIns="0" tIns="0" rIns="0" bIns="0" rtlCol="0"/>
          <a:lstStyle/>
          <a:p>
            <a:endParaRPr/>
          </a:p>
        </p:txBody>
      </p:sp>
      <p:sp>
        <p:nvSpPr>
          <p:cNvPr id="29" name="bg object 29"/>
          <p:cNvSpPr/>
          <p:nvPr/>
        </p:nvSpPr>
        <p:spPr>
          <a:xfrm>
            <a:off x="7218731" y="2974352"/>
            <a:ext cx="1016000" cy="1449070"/>
          </a:xfrm>
          <a:custGeom>
            <a:avLst/>
            <a:gdLst/>
            <a:ahLst/>
            <a:cxnLst/>
            <a:rect l="l" t="t" r="r" b="b"/>
            <a:pathLst>
              <a:path w="1016000" h="1449070">
                <a:moveTo>
                  <a:pt x="318795" y="960704"/>
                </a:moveTo>
                <a:lnTo>
                  <a:pt x="275996" y="960704"/>
                </a:lnTo>
                <a:lnTo>
                  <a:pt x="275996" y="968235"/>
                </a:lnTo>
                <a:lnTo>
                  <a:pt x="318795" y="968235"/>
                </a:lnTo>
                <a:lnTo>
                  <a:pt x="318795" y="960704"/>
                </a:lnTo>
                <a:close/>
              </a:path>
              <a:path w="1016000" h="1449070">
                <a:moveTo>
                  <a:pt x="748436" y="960704"/>
                </a:moveTo>
                <a:lnTo>
                  <a:pt x="705637" y="960704"/>
                </a:lnTo>
                <a:lnTo>
                  <a:pt x="705637" y="968235"/>
                </a:lnTo>
                <a:lnTo>
                  <a:pt x="748436" y="968235"/>
                </a:lnTo>
                <a:lnTo>
                  <a:pt x="748436" y="960704"/>
                </a:lnTo>
                <a:close/>
              </a:path>
              <a:path w="1016000" h="1449070">
                <a:moveTo>
                  <a:pt x="1016000" y="0"/>
                </a:moveTo>
                <a:lnTo>
                  <a:pt x="839419" y="0"/>
                </a:lnTo>
                <a:lnTo>
                  <a:pt x="839419" y="7620"/>
                </a:lnTo>
                <a:lnTo>
                  <a:pt x="839419" y="240385"/>
                </a:lnTo>
                <a:lnTo>
                  <a:pt x="839419" y="247916"/>
                </a:lnTo>
                <a:lnTo>
                  <a:pt x="839419" y="480263"/>
                </a:lnTo>
                <a:lnTo>
                  <a:pt x="839419" y="488518"/>
                </a:lnTo>
                <a:lnTo>
                  <a:pt x="839419" y="720102"/>
                </a:lnTo>
                <a:lnTo>
                  <a:pt x="680402" y="720102"/>
                </a:lnTo>
                <a:lnTo>
                  <a:pt x="680402" y="488518"/>
                </a:lnTo>
                <a:lnTo>
                  <a:pt x="839419" y="488518"/>
                </a:lnTo>
                <a:lnTo>
                  <a:pt x="839419" y="480263"/>
                </a:lnTo>
                <a:lnTo>
                  <a:pt x="680402" y="480263"/>
                </a:lnTo>
                <a:lnTo>
                  <a:pt x="680402" y="247916"/>
                </a:lnTo>
                <a:lnTo>
                  <a:pt x="839419" y="247916"/>
                </a:lnTo>
                <a:lnTo>
                  <a:pt x="839419" y="240385"/>
                </a:lnTo>
                <a:lnTo>
                  <a:pt x="680402" y="240385"/>
                </a:lnTo>
                <a:lnTo>
                  <a:pt x="680402" y="7620"/>
                </a:lnTo>
                <a:lnTo>
                  <a:pt x="839419" y="7620"/>
                </a:lnTo>
                <a:lnTo>
                  <a:pt x="839419" y="0"/>
                </a:lnTo>
                <a:lnTo>
                  <a:pt x="671233" y="0"/>
                </a:lnTo>
                <a:lnTo>
                  <a:pt x="671233" y="7620"/>
                </a:lnTo>
                <a:lnTo>
                  <a:pt x="671233" y="240385"/>
                </a:lnTo>
                <a:lnTo>
                  <a:pt x="671233" y="247916"/>
                </a:lnTo>
                <a:lnTo>
                  <a:pt x="671233" y="480263"/>
                </a:lnTo>
                <a:lnTo>
                  <a:pt x="671233" y="488518"/>
                </a:lnTo>
                <a:lnTo>
                  <a:pt x="671233" y="720102"/>
                </a:lnTo>
                <a:lnTo>
                  <a:pt x="512229" y="720102"/>
                </a:lnTo>
                <a:lnTo>
                  <a:pt x="512229" y="488518"/>
                </a:lnTo>
                <a:lnTo>
                  <a:pt x="671233" y="488518"/>
                </a:lnTo>
                <a:lnTo>
                  <a:pt x="671233" y="480263"/>
                </a:lnTo>
                <a:lnTo>
                  <a:pt x="512229" y="480263"/>
                </a:lnTo>
                <a:lnTo>
                  <a:pt x="512229" y="247916"/>
                </a:lnTo>
                <a:lnTo>
                  <a:pt x="671233" y="247916"/>
                </a:lnTo>
                <a:lnTo>
                  <a:pt x="671233" y="240385"/>
                </a:lnTo>
                <a:lnTo>
                  <a:pt x="512229" y="240385"/>
                </a:lnTo>
                <a:lnTo>
                  <a:pt x="512229" y="7620"/>
                </a:lnTo>
                <a:lnTo>
                  <a:pt x="671233" y="7620"/>
                </a:lnTo>
                <a:lnTo>
                  <a:pt x="671233" y="0"/>
                </a:lnTo>
                <a:lnTo>
                  <a:pt x="503796" y="0"/>
                </a:lnTo>
                <a:lnTo>
                  <a:pt x="503796" y="7620"/>
                </a:lnTo>
                <a:lnTo>
                  <a:pt x="503796" y="240385"/>
                </a:lnTo>
                <a:lnTo>
                  <a:pt x="503796" y="247916"/>
                </a:lnTo>
                <a:lnTo>
                  <a:pt x="503796" y="480263"/>
                </a:lnTo>
                <a:lnTo>
                  <a:pt x="503796" y="488518"/>
                </a:lnTo>
                <a:lnTo>
                  <a:pt x="503796" y="720102"/>
                </a:lnTo>
                <a:lnTo>
                  <a:pt x="344017" y="720102"/>
                </a:lnTo>
                <a:lnTo>
                  <a:pt x="344017" y="488518"/>
                </a:lnTo>
                <a:lnTo>
                  <a:pt x="503796" y="488518"/>
                </a:lnTo>
                <a:lnTo>
                  <a:pt x="503796" y="480263"/>
                </a:lnTo>
                <a:lnTo>
                  <a:pt x="344017" y="480263"/>
                </a:lnTo>
                <a:lnTo>
                  <a:pt x="344017" y="247916"/>
                </a:lnTo>
                <a:lnTo>
                  <a:pt x="503796" y="247916"/>
                </a:lnTo>
                <a:lnTo>
                  <a:pt x="503796" y="240385"/>
                </a:lnTo>
                <a:lnTo>
                  <a:pt x="344017" y="240385"/>
                </a:lnTo>
                <a:lnTo>
                  <a:pt x="344017" y="7620"/>
                </a:lnTo>
                <a:lnTo>
                  <a:pt x="503796" y="7620"/>
                </a:lnTo>
                <a:lnTo>
                  <a:pt x="503796" y="0"/>
                </a:lnTo>
                <a:lnTo>
                  <a:pt x="335622" y="0"/>
                </a:lnTo>
                <a:lnTo>
                  <a:pt x="335622" y="7620"/>
                </a:lnTo>
                <a:lnTo>
                  <a:pt x="335622" y="240385"/>
                </a:lnTo>
                <a:lnTo>
                  <a:pt x="335622" y="247916"/>
                </a:lnTo>
                <a:lnTo>
                  <a:pt x="335622" y="480263"/>
                </a:lnTo>
                <a:lnTo>
                  <a:pt x="335622" y="488518"/>
                </a:lnTo>
                <a:lnTo>
                  <a:pt x="335622" y="720102"/>
                </a:lnTo>
                <a:lnTo>
                  <a:pt x="176606" y="720102"/>
                </a:lnTo>
                <a:lnTo>
                  <a:pt x="176606" y="488518"/>
                </a:lnTo>
                <a:lnTo>
                  <a:pt x="335622" y="488518"/>
                </a:lnTo>
                <a:lnTo>
                  <a:pt x="335622" y="480263"/>
                </a:lnTo>
                <a:lnTo>
                  <a:pt x="176606" y="480263"/>
                </a:lnTo>
                <a:lnTo>
                  <a:pt x="176606" y="247916"/>
                </a:lnTo>
                <a:lnTo>
                  <a:pt x="335622" y="247916"/>
                </a:lnTo>
                <a:lnTo>
                  <a:pt x="335622" y="240385"/>
                </a:lnTo>
                <a:lnTo>
                  <a:pt x="176606" y="240385"/>
                </a:lnTo>
                <a:lnTo>
                  <a:pt x="176606" y="7620"/>
                </a:lnTo>
                <a:lnTo>
                  <a:pt x="335622" y="7620"/>
                </a:lnTo>
                <a:lnTo>
                  <a:pt x="335622" y="0"/>
                </a:lnTo>
                <a:lnTo>
                  <a:pt x="167436" y="0"/>
                </a:lnTo>
                <a:lnTo>
                  <a:pt x="167436" y="7620"/>
                </a:lnTo>
                <a:lnTo>
                  <a:pt x="167436" y="240385"/>
                </a:lnTo>
                <a:lnTo>
                  <a:pt x="167436" y="1440180"/>
                </a:lnTo>
                <a:lnTo>
                  <a:pt x="8420" y="1440180"/>
                </a:lnTo>
                <a:lnTo>
                  <a:pt x="8420" y="1208849"/>
                </a:lnTo>
                <a:lnTo>
                  <a:pt x="167436" y="1208849"/>
                </a:lnTo>
                <a:lnTo>
                  <a:pt x="167436" y="1200556"/>
                </a:lnTo>
                <a:lnTo>
                  <a:pt x="8420" y="1200556"/>
                </a:lnTo>
                <a:lnTo>
                  <a:pt x="8420" y="968235"/>
                </a:lnTo>
                <a:lnTo>
                  <a:pt x="167436" y="968235"/>
                </a:lnTo>
                <a:lnTo>
                  <a:pt x="167436" y="960704"/>
                </a:lnTo>
                <a:lnTo>
                  <a:pt x="8420" y="960704"/>
                </a:lnTo>
                <a:lnTo>
                  <a:pt x="8420" y="728370"/>
                </a:lnTo>
                <a:lnTo>
                  <a:pt x="167436" y="728370"/>
                </a:lnTo>
                <a:lnTo>
                  <a:pt x="167436" y="720102"/>
                </a:lnTo>
                <a:lnTo>
                  <a:pt x="8420" y="720102"/>
                </a:lnTo>
                <a:lnTo>
                  <a:pt x="8420" y="488518"/>
                </a:lnTo>
                <a:lnTo>
                  <a:pt x="167436" y="488518"/>
                </a:lnTo>
                <a:lnTo>
                  <a:pt x="167436" y="480263"/>
                </a:lnTo>
                <a:lnTo>
                  <a:pt x="8420" y="480263"/>
                </a:lnTo>
                <a:lnTo>
                  <a:pt x="8420" y="247916"/>
                </a:lnTo>
                <a:lnTo>
                  <a:pt x="167436" y="247916"/>
                </a:lnTo>
                <a:lnTo>
                  <a:pt x="167436" y="240385"/>
                </a:lnTo>
                <a:lnTo>
                  <a:pt x="8420" y="240385"/>
                </a:lnTo>
                <a:lnTo>
                  <a:pt x="8420" y="7620"/>
                </a:lnTo>
                <a:lnTo>
                  <a:pt x="167436" y="7620"/>
                </a:lnTo>
                <a:lnTo>
                  <a:pt x="167436" y="0"/>
                </a:lnTo>
                <a:lnTo>
                  <a:pt x="0" y="0"/>
                </a:lnTo>
                <a:lnTo>
                  <a:pt x="0" y="7620"/>
                </a:lnTo>
                <a:lnTo>
                  <a:pt x="0" y="1440180"/>
                </a:lnTo>
                <a:lnTo>
                  <a:pt x="0" y="1449070"/>
                </a:lnTo>
                <a:lnTo>
                  <a:pt x="1016000" y="1449070"/>
                </a:lnTo>
                <a:lnTo>
                  <a:pt x="1016000" y="1440434"/>
                </a:lnTo>
                <a:lnTo>
                  <a:pt x="1016000" y="1440180"/>
                </a:lnTo>
                <a:lnTo>
                  <a:pt x="1016000" y="8039"/>
                </a:lnTo>
                <a:lnTo>
                  <a:pt x="1006830" y="8039"/>
                </a:lnTo>
                <a:lnTo>
                  <a:pt x="1006830" y="240385"/>
                </a:lnTo>
                <a:lnTo>
                  <a:pt x="1006830" y="247916"/>
                </a:lnTo>
                <a:lnTo>
                  <a:pt x="1006830" y="960704"/>
                </a:lnTo>
                <a:lnTo>
                  <a:pt x="849363" y="960704"/>
                </a:lnTo>
                <a:lnTo>
                  <a:pt x="849363" y="968235"/>
                </a:lnTo>
                <a:lnTo>
                  <a:pt x="1006830" y="968235"/>
                </a:lnTo>
                <a:lnTo>
                  <a:pt x="1006830" y="1200556"/>
                </a:lnTo>
                <a:lnTo>
                  <a:pt x="1006830" y="1208849"/>
                </a:lnTo>
                <a:lnTo>
                  <a:pt x="1006830" y="1440180"/>
                </a:lnTo>
                <a:lnTo>
                  <a:pt x="847813" y="1440180"/>
                </a:lnTo>
                <a:lnTo>
                  <a:pt x="847813" y="1208849"/>
                </a:lnTo>
                <a:lnTo>
                  <a:pt x="1006830" y="1208849"/>
                </a:lnTo>
                <a:lnTo>
                  <a:pt x="1006830" y="1200556"/>
                </a:lnTo>
                <a:lnTo>
                  <a:pt x="847813" y="1200556"/>
                </a:lnTo>
                <a:lnTo>
                  <a:pt x="847813" y="1109573"/>
                </a:lnTo>
                <a:lnTo>
                  <a:pt x="839419" y="1109573"/>
                </a:lnTo>
                <a:lnTo>
                  <a:pt x="839419" y="1200556"/>
                </a:lnTo>
                <a:lnTo>
                  <a:pt x="839419" y="1208849"/>
                </a:lnTo>
                <a:lnTo>
                  <a:pt x="839419" y="1440180"/>
                </a:lnTo>
                <a:lnTo>
                  <a:pt x="680402" y="1440180"/>
                </a:lnTo>
                <a:lnTo>
                  <a:pt x="680402" y="1208849"/>
                </a:lnTo>
                <a:lnTo>
                  <a:pt x="839419" y="1208849"/>
                </a:lnTo>
                <a:lnTo>
                  <a:pt x="839419" y="1200556"/>
                </a:lnTo>
                <a:lnTo>
                  <a:pt x="680402" y="1200556"/>
                </a:lnTo>
                <a:lnTo>
                  <a:pt x="680402" y="1109573"/>
                </a:lnTo>
                <a:lnTo>
                  <a:pt x="671233" y="1109573"/>
                </a:lnTo>
                <a:lnTo>
                  <a:pt x="671233" y="1200556"/>
                </a:lnTo>
                <a:lnTo>
                  <a:pt x="671233" y="1208849"/>
                </a:lnTo>
                <a:lnTo>
                  <a:pt x="671233" y="1440180"/>
                </a:lnTo>
                <a:lnTo>
                  <a:pt x="512229" y="1440180"/>
                </a:lnTo>
                <a:lnTo>
                  <a:pt x="512229" y="1208849"/>
                </a:lnTo>
                <a:lnTo>
                  <a:pt x="671233" y="1208849"/>
                </a:lnTo>
                <a:lnTo>
                  <a:pt x="671233" y="1200556"/>
                </a:lnTo>
                <a:lnTo>
                  <a:pt x="512229" y="1200556"/>
                </a:lnTo>
                <a:lnTo>
                  <a:pt x="512229" y="1109573"/>
                </a:lnTo>
                <a:lnTo>
                  <a:pt x="503796" y="1109573"/>
                </a:lnTo>
                <a:lnTo>
                  <a:pt x="503796" y="1200556"/>
                </a:lnTo>
                <a:lnTo>
                  <a:pt x="503796" y="1208849"/>
                </a:lnTo>
                <a:lnTo>
                  <a:pt x="503796" y="1440180"/>
                </a:lnTo>
                <a:lnTo>
                  <a:pt x="344017" y="1440180"/>
                </a:lnTo>
                <a:lnTo>
                  <a:pt x="344017" y="1208849"/>
                </a:lnTo>
                <a:lnTo>
                  <a:pt x="503796" y="1208849"/>
                </a:lnTo>
                <a:lnTo>
                  <a:pt x="503796" y="1200556"/>
                </a:lnTo>
                <a:lnTo>
                  <a:pt x="344017" y="1200556"/>
                </a:lnTo>
                <a:lnTo>
                  <a:pt x="344017" y="1109573"/>
                </a:lnTo>
                <a:lnTo>
                  <a:pt x="335622" y="1109573"/>
                </a:lnTo>
                <a:lnTo>
                  <a:pt x="335622" y="1200556"/>
                </a:lnTo>
                <a:lnTo>
                  <a:pt x="335622" y="1208849"/>
                </a:lnTo>
                <a:lnTo>
                  <a:pt x="335622" y="1440180"/>
                </a:lnTo>
                <a:lnTo>
                  <a:pt x="176606" y="1440180"/>
                </a:lnTo>
                <a:lnTo>
                  <a:pt x="176606" y="1208849"/>
                </a:lnTo>
                <a:lnTo>
                  <a:pt x="335622" y="1208849"/>
                </a:lnTo>
                <a:lnTo>
                  <a:pt x="335622" y="1200556"/>
                </a:lnTo>
                <a:lnTo>
                  <a:pt x="176606" y="1200556"/>
                </a:lnTo>
                <a:lnTo>
                  <a:pt x="176606" y="728370"/>
                </a:lnTo>
                <a:lnTo>
                  <a:pt x="335622" y="728370"/>
                </a:lnTo>
                <a:lnTo>
                  <a:pt x="335622" y="747928"/>
                </a:lnTo>
                <a:lnTo>
                  <a:pt x="344017" y="747928"/>
                </a:lnTo>
                <a:lnTo>
                  <a:pt x="344017" y="728370"/>
                </a:lnTo>
                <a:lnTo>
                  <a:pt x="503796" y="728370"/>
                </a:lnTo>
                <a:lnTo>
                  <a:pt x="503796" y="960704"/>
                </a:lnTo>
                <a:lnTo>
                  <a:pt x="419722" y="960704"/>
                </a:lnTo>
                <a:lnTo>
                  <a:pt x="419722" y="968235"/>
                </a:lnTo>
                <a:lnTo>
                  <a:pt x="503796" y="968235"/>
                </a:lnTo>
                <a:lnTo>
                  <a:pt x="503796" y="1026121"/>
                </a:lnTo>
                <a:lnTo>
                  <a:pt x="512229" y="1026121"/>
                </a:lnTo>
                <a:lnTo>
                  <a:pt x="512229" y="968235"/>
                </a:lnTo>
                <a:lnTo>
                  <a:pt x="604710" y="968235"/>
                </a:lnTo>
                <a:lnTo>
                  <a:pt x="604710" y="960704"/>
                </a:lnTo>
                <a:lnTo>
                  <a:pt x="512229" y="960704"/>
                </a:lnTo>
                <a:lnTo>
                  <a:pt x="512229" y="728370"/>
                </a:lnTo>
                <a:lnTo>
                  <a:pt x="671233" y="728370"/>
                </a:lnTo>
                <a:lnTo>
                  <a:pt x="671233" y="844156"/>
                </a:lnTo>
                <a:lnTo>
                  <a:pt x="680402" y="844156"/>
                </a:lnTo>
                <a:lnTo>
                  <a:pt x="680402" y="728370"/>
                </a:lnTo>
                <a:lnTo>
                  <a:pt x="839419" y="728370"/>
                </a:lnTo>
                <a:lnTo>
                  <a:pt x="839419" y="943432"/>
                </a:lnTo>
                <a:lnTo>
                  <a:pt x="847813" y="943432"/>
                </a:lnTo>
                <a:lnTo>
                  <a:pt x="847813" y="728370"/>
                </a:lnTo>
                <a:lnTo>
                  <a:pt x="1006830" y="728370"/>
                </a:lnTo>
                <a:lnTo>
                  <a:pt x="1006830" y="720102"/>
                </a:lnTo>
                <a:lnTo>
                  <a:pt x="847813" y="720102"/>
                </a:lnTo>
                <a:lnTo>
                  <a:pt x="847813" y="488518"/>
                </a:lnTo>
                <a:lnTo>
                  <a:pt x="1006830" y="488518"/>
                </a:lnTo>
                <a:lnTo>
                  <a:pt x="1006830" y="480263"/>
                </a:lnTo>
                <a:lnTo>
                  <a:pt x="847813" y="480263"/>
                </a:lnTo>
                <a:lnTo>
                  <a:pt x="847813" y="247916"/>
                </a:lnTo>
                <a:lnTo>
                  <a:pt x="1006830" y="247916"/>
                </a:lnTo>
                <a:lnTo>
                  <a:pt x="1006830" y="240385"/>
                </a:lnTo>
                <a:lnTo>
                  <a:pt x="847813" y="240385"/>
                </a:lnTo>
                <a:lnTo>
                  <a:pt x="847813" y="7620"/>
                </a:lnTo>
                <a:lnTo>
                  <a:pt x="1016000" y="7620"/>
                </a:lnTo>
                <a:lnTo>
                  <a:pt x="1016000" y="0"/>
                </a:lnTo>
                <a:close/>
              </a:path>
            </a:pathLst>
          </a:custGeom>
          <a:solidFill>
            <a:srgbClr val="CECECE"/>
          </a:solidFill>
        </p:spPr>
        <p:txBody>
          <a:bodyPr wrap="square" lIns="0" tIns="0" rIns="0" bIns="0" rtlCol="0"/>
          <a:lstStyle/>
          <a:p>
            <a:endParaRPr/>
          </a:p>
        </p:txBody>
      </p:sp>
      <p:sp>
        <p:nvSpPr>
          <p:cNvPr id="30" name="bg object 30"/>
          <p:cNvSpPr/>
          <p:nvPr/>
        </p:nvSpPr>
        <p:spPr>
          <a:xfrm>
            <a:off x="7393787" y="3722281"/>
            <a:ext cx="674370" cy="361950"/>
          </a:xfrm>
          <a:custGeom>
            <a:avLst/>
            <a:gdLst/>
            <a:ahLst/>
            <a:cxnLst/>
            <a:rect l="l" t="t" r="r" b="b"/>
            <a:pathLst>
              <a:path w="674370" h="361950">
                <a:moveTo>
                  <a:pt x="100939" y="160147"/>
                </a:moveTo>
                <a:lnTo>
                  <a:pt x="0" y="160147"/>
                </a:lnTo>
                <a:lnTo>
                  <a:pt x="0" y="361645"/>
                </a:lnTo>
                <a:lnTo>
                  <a:pt x="100939" y="361645"/>
                </a:lnTo>
                <a:lnTo>
                  <a:pt x="100939" y="160147"/>
                </a:lnTo>
                <a:close/>
              </a:path>
              <a:path w="674370" h="361950">
                <a:moveTo>
                  <a:pt x="244665" y="0"/>
                </a:moveTo>
                <a:lnTo>
                  <a:pt x="143738" y="0"/>
                </a:lnTo>
                <a:lnTo>
                  <a:pt x="143738" y="361645"/>
                </a:lnTo>
                <a:lnTo>
                  <a:pt x="244665" y="361645"/>
                </a:lnTo>
                <a:lnTo>
                  <a:pt x="244665" y="0"/>
                </a:lnTo>
                <a:close/>
              </a:path>
              <a:path w="674370" h="361950">
                <a:moveTo>
                  <a:pt x="387616" y="278193"/>
                </a:moveTo>
                <a:lnTo>
                  <a:pt x="286689" y="278193"/>
                </a:lnTo>
                <a:lnTo>
                  <a:pt x="286689" y="361645"/>
                </a:lnTo>
                <a:lnTo>
                  <a:pt x="387616" y="361645"/>
                </a:lnTo>
                <a:lnTo>
                  <a:pt x="387616" y="278193"/>
                </a:lnTo>
                <a:close/>
              </a:path>
              <a:path w="674370" h="361950">
                <a:moveTo>
                  <a:pt x="530580" y="96227"/>
                </a:moveTo>
                <a:lnTo>
                  <a:pt x="429653" y="96227"/>
                </a:lnTo>
                <a:lnTo>
                  <a:pt x="429653" y="361645"/>
                </a:lnTo>
                <a:lnTo>
                  <a:pt x="530580" y="361645"/>
                </a:lnTo>
                <a:lnTo>
                  <a:pt x="530580" y="96227"/>
                </a:lnTo>
                <a:close/>
              </a:path>
              <a:path w="674370" h="361950">
                <a:moveTo>
                  <a:pt x="674306" y="195503"/>
                </a:moveTo>
                <a:lnTo>
                  <a:pt x="573379" y="195503"/>
                </a:lnTo>
                <a:lnTo>
                  <a:pt x="573379" y="361645"/>
                </a:lnTo>
                <a:lnTo>
                  <a:pt x="674306" y="361645"/>
                </a:lnTo>
                <a:lnTo>
                  <a:pt x="674306" y="195503"/>
                </a:lnTo>
                <a:close/>
              </a:path>
            </a:pathLst>
          </a:custGeom>
          <a:solidFill>
            <a:srgbClr val="30475E"/>
          </a:solidFill>
        </p:spPr>
        <p:txBody>
          <a:bodyPr wrap="square" lIns="0" tIns="0" rIns="0" bIns="0" rtlCol="0"/>
          <a:lstStyle/>
          <a:p>
            <a:endParaRPr/>
          </a:p>
        </p:txBody>
      </p:sp>
      <p:pic>
        <p:nvPicPr>
          <p:cNvPr id="31" name="bg object 31"/>
          <p:cNvPicPr/>
          <p:nvPr/>
        </p:nvPicPr>
        <p:blipFill>
          <a:blip r:embed="rId3" cstate="print"/>
          <a:stretch>
            <a:fillRect/>
          </a:stretch>
        </p:blipFill>
        <p:spPr>
          <a:xfrm>
            <a:off x="7803574" y="4148596"/>
            <a:ext cx="277513" cy="66170"/>
          </a:xfrm>
          <a:prstGeom prst="rect">
            <a:avLst/>
          </a:prstGeom>
        </p:spPr>
      </p:pic>
      <p:pic>
        <p:nvPicPr>
          <p:cNvPr id="32" name="bg object 32"/>
          <p:cNvPicPr/>
          <p:nvPr/>
        </p:nvPicPr>
        <p:blipFill>
          <a:blip r:embed="rId4" cstate="print"/>
          <a:stretch>
            <a:fillRect/>
          </a:stretch>
        </p:blipFill>
        <p:spPr>
          <a:xfrm>
            <a:off x="7979411" y="3515503"/>
            <a:ext cx="133011" cy="66906"/>
          </a:xfrm>
          <a:prstGeom prst="rect">
            <a:avLst/>
          </a:prstGeom>
        </p:spPr>
      </p:pic>
      <p:pic>
        <p:nvPicPr>
          <p:cNvPr id="33" name="bg object 33"/>
          <p:cNvPicPr/>
          <p:nvPr/>
        </p:nvPicPr>
        <p:blipFill>
          <a:blip r:embed="rId5" cstate="print"/>
          <a:stretch>
            <a:fillRect/>
          </a:stretch>
        </p:blipFill>
        <p:spPr>
          <a:xfrm>
            <a:off x="7378517" y="4148596"/>
            <a:ext cx="211007" cy="66170"/>
          </a:xfrm>
          <a:prstGeom prst="rect">
            <a:avLst/>
          </a:prstGeom>
        </p:spPr>
      </p:pic>
      <p:pic>
        <p:nvPicPr>
          <p:cNvPr id="34" name="bg object 34"/>
          <p:cNvPicPr/>
          <p:nvPr/>
        </p:nvPicPr>
        <p:blipFill>
          <a:blip r:embed="rId6" cstate="print"/>
          <a:stretch>
            <a:fillRect/>
          </a:stretch>
        </p:blipFill>
        <p:spPr>
          <a:xfrm>
            <a:off x="7284492" y="3075625"/>
            <a:ext cx="210983" cy="66170"/>
          </a:xfrm>
          <a:prstGeom prst="rect">
            <a:avLst/>
          </a:prstGeom>
        </p:spPr>
      </p:pic>
      <p:sp>
        <p:nvSpPr>
          <p:cNvPr id="35" name="bg object 35"/>
          <p:cNvSpPr/>
          <p:nvPr/>
        </p:nvSpPr>
        <p:spPr>
          <a:xfrm>
            <a:off x="7211098" y="3086176"/>
            <a:ext cx="1031875" cy="1282065"/>
          </a:xfrm>
          <a:custGeom>
            <a:avLst/>
            <a:gdLst/>
            <a:ahLst/>
            <a:cxnLst/>
            <a:rect l="l" t="t" r="r" b="b"/>
            <a:pathLst>
              <a:path w="1031875" h="1282064">
                <a:moveTo>
                  <a:pt x="795820" y="260146"/>
                </a:moveTo>
                <a:lnTo>
                  <a:pt x="791565" y="213398"/>
                </a:lnTo>
                <a:lnTo>
                  <a:pt x="779272" y="169392"/>
                </a:lnTo>
                <a:lnTo>
                  <a:pt x="771372" y="153047"/>
                </a:lnTo>
                <a:lnTo>
                  <a:pt x="771372" y="259410"/>
                </a:lnTo>
                <a:lnTo>
                  <a:pt x="766508" y="307149"/>
                </a:lnTo>
                <a:lnTo>
                  <a:pt x="752563" y="351599"/>
                </a:lnTo>
                <a:lnTo>
                  <a:pt x="730491" y="391833"/>
                </a:lnTo>
                <a:lnTo>
                  <a:pt x="701230" y="426885"/>
                </a:lnTo>
                <a:lnTo>
                  <a:pt x="701103" y="426999"/>
                </a:lnTo>
                <a:lnTo>
                  <a:pt x="682739" y="406908"/>
                </a:lnTo>
                <a:lnTo>
                  <a:pt x="682739" y="441960"/>
                </a:lnTo>
                <a:lnTo>
                  <a:pt x="665734" y="455803"/>
                </a:lnTo>
                <a:lnTo>
                  <a:pt x="624941" y="477634"/>
                </a:lnTo>
                <a:lnTo>
                  <a:pt x="579831" y="491426"/>
                </a:lnTo>
                <a:lnTo>
                  <a:pt x="531329" y="496239"/>
                </a:lnTo>
                <a:lnTo>
                  <a:pt x="483031" y="491426"/>
                </a:lnTo>
                <a:lnTo>
                  <a:pt x="438010" y="477634"/>
                </a:lnTo>
                <a:lnTo>
                  <a:pt x="397243" y="455803"/>
                </a:lnTo>
                <a:lnTo>
                  <a:pt x="361683" y="426885"/>
                </a:lnTo>
                <a:lnTo>
                  <a:pt x="332333" y="391833"/>
                </a:lnTo>
                <a:lnTo>
                  <a:pt x="310159" y="351599"/>
                </a:lnTo>
                <a:lnTo>
                  <a:pt x="296138" y="307149"/>
                </a:lnTo>
                <a:lnTo>
                  <a:pt x="293636" y="282803"/>
                </a:lnTo>
                <a:lnTo>
                  <a:pt x="526580" y="271691"/>
                </a:lnTo>
                <a:lnTo>
                  <a:pt x="682739" y="441960"/>
                </a:lnTo>
                <a:lnTo>
                  <a:pt x="682739" y="406908"/>
                </a:lnTo>
                <a:lnTo>
                  <a:pt x="546608" y="257886"/>
                </a:lnTo>
                <a:lnTo>
                  <a:pt x="655675" y="58254"/>
                </a:lnTo>
                <a:lnTo>
                  <a:pt x="665924" y="63715"/>
                </a:lnTo>
                <a:lnTo>
                  <a:pt x="701484" y="92557"/>
                </a:lnTo>
                <a:lnTo>
                  <a:pt x="730821" y="127533"/>
                </a:lnTo>
                <a:lnTo>
                  <a:pt x="752881" y="167640"/>
                </a:lnTo>
                <a:lnTo>
                  <a:pt x="766724" y="211912"/>
                </a:lnTo>
                <a:lnTo>
                  <a:pt x="771372" y="259410"/>
                </a:lnTo>
                <a:lnTo>
                  <a:pt x="771372" y="153047"/>
                </a:lnTo>
                <a:lnTo>
                  <a:pt x="733602" y="92583"/>
                </a:lnTo>
                <a:lnTo>
                  <a:pt x="701700" y="61201"/>
                </a:lnTo>
                <a:lnTo>
                  <a:pt x="664781" y="35521"/>
                </a:lnTo>
                <a:lnTo>
                  <a:pt x="663079" y="34734"/>
                </a:lnTo>
                <a:lnTo>
                  <a:pt x="662813" y="33832"/>
                </a:lnTo>
                <a:lnTo>
                  <a:pt x="656678" y="30810"/>
                </a:lnTo>
                <a:lnTo>
                  <a:pt x="655066" y="29895"/>
                </a:lnTo>
                <a:lnTo>
                  <a:pt x="653211" y="29464"/>
                </a:lnTo>
                <a:lnTo>
                  <a:pt x="651802" y="29464"/>
                </a:lnTo>
                <a:lnTo>
                  <a:pt x="638644" y="23317"/>
                </a:lnTo>
                <a:lnTo>
                  <a:pt x="634301" y="21297"/>
                </a:lnTo>
                <a:lnTo>
                  <a:pt x="634301" y="46850"/>
                </a:lnTo>
                <a:lnTo>
                  <a:pt x="524129" y="247726"/>
                </a:lnTo>
                <a:lnTo>
                  <a:pt x="291299" y="258826"/>
                </a:lnTo>
                <a:lnTo>
                  <a:pt x="296138" y="211912"/>
                </a:lnTo>
                <a:lnTo>
                  <a:pt x="310159" y="167640"/>
                </a:lnTo>
                <a:lnTo>
                  <a:pt x="332333" y="127533"/>
                </a:lnTo>
                <a:lnTo>
                  <a:pt x="361683" y="92583"/>
                </a:lnTo>
                <a:lnTo>
                  <a:pt x="397243" y="63715"/>
                </a:lnTo>
                <a:lnTo>
                  <a:pt x="438010" y="41910"/>
                </a:lnTo>
                <a:lnTo>
                  <a:pt x="483031" y="28117"/>
                </a:lnTo>
                <a:lnTo>
                  <a:pt x="531329" y="23317"/>
                </a:lnTo>
                <a:lnTo>
                  <a:pt x="579856" y="28117"/>
                </a:lnTo>
                <a:lnTo>
                  <a:pt x="625055" y="41910"/>
                </a:lnTo>
                <a:lnTo>
                  <a:pt x="634301" y="46850"/>
                </a:lnTo>
                <a:lnTo>
                  <a:pt x="634301" y="21297"/>
                </a:lnTo>
                <a:lnTo>
                  <a:pt x="623582" y="16281"/>
                </a:lnTo>
                <a:lnTo>
                  <a:pt x="578853" y="4191"/>
                </a:lnTo>
                <a:lnTo>
                  <a:pt x="531329" y="0"/>
                </a:lnTo>
                <a:lnTo>
                  <a:pt x="484022" y="4191"/>
                </a:lnTo>
                <a:lnTo>
                  <a:pt x="439445" y="16281"/>
                </a:lnTo>
                <a:lnTo>
                  <a:pt x="398373" y="35521"/>
                </a:lnTo>
                <a:lnTo>
                  <a:pt x="361556" y="61201"/>
                </a:lnTo>
                <a:lnTo>
                  <a:pt x="329730" y="92557"/>
                </a:lnTo>
                <a:lnTo>
                  <a:pt x="303669" y="128866"/>
                </a:lnTo>
                <a:lnTo>
                  <a:pt x="284111" y="169392"/>
                </a:lnTo>
                <a:lnTo>
                  <a:pt x="271830" y="213398"/>
                </a:lnTo>
                <a:lnTo>
                  <a:pt x="267576" y="260146"/>
                </a:lnTo>
                <a:lnTo>
                  <a:pt x="267944" y="264287"/>
                </a:lnTo>
                <a:lnTo>
                  <a:pt x="266801" y="265417"/>
                </a:lnTo>
                <a:lnTo>
                  <a:pt x="267576" y="272186"/>
                </a:lnTo>
                <a:lnTo>
                  <a:pt x="267576" y="278942"/>
                </a:lnTo>
                <a:lnTo>
                  <a:pt x="269430" y="280530"/>
                </a:lnTo>
                <a:lnTo>
                  <a:pt x="284111" y="350494"/>
                </a:lnTo>
                <a:lnTo>
                  <a:pt x="303669" y="390893"/>
                </a:lnTo>
                <a:lnTo>
                  <a:pt x="329730" y="427113"/>
                </a:lnTo>
                <a:lnTo>
                  <a:pt x="361556" y="458406"/>
                </a:lnTo>
                <a:lnTo>
                  <a:pt x="398373" y="484047"/>
                </a:lnTo>
                <a:lnTo>
                  <a:pt x="439445" y="503275"/>
                </a:lnTo>
                <a:lnTo>
                  <a:pt x="484022" y="515366"/>
                </a:lnTo>
                <a:lnTo>
                  <a:pt x="531329" y="519557"/>
                </a:lnTo>
                <a:lnTo>
                  <a:pt x="578853" y="515366"/>
                </a:lnTo>
                <a:lnTo>
                  <a:pt x="623582" y="503275"/>
                </a:lnTo>
                <a:lnTo>
                  <a:pt x="664781" y="484047"/>
                </a:lnTo>
                <a:lnTo>
                  <a:pt x="701700" y="458406"/>
                </a:lnTo>
                <a:lnTo>
                  <a:pt x="704926" y="455244"/>
                </a:lnTo>
                <a:lnTo>
                  <a:pt x="706386" y="454875"/>
                </a:lnTo>
                <a:lnTo>
                  <a:pt x="708685" y="452628"/>
                </a:lnTo>
                <a:lnTo>
                  <a:pt x="714019" y="448119"/>
                </a:lnTo>
                <a:lnTo>
                  <a:pt x="714019" y="446328"/>
                </a:lnTo>
                <a:lnTo>
                  <a:pt x="733590" y="427113"/>
                </a:lnTo>
                <a:lnTo>
                  <a:pt x="759701" y="390893"/>
                </a:lnTo>
                <a:lnTo>
                  <a:pt x="779272" y="350494"/>
                </a:lnTo>
                <a:lnTo>
                  <a:pt x="791565" y="306666"/>
                </a:lnTo>
                <a:lnTo>
                  <a:pt x="795820" y="260146"/>
                </a:lnTo>
                <a:close/>
              </a:path>
              <a:path w="1031875" h="1282064">
                <a:moveTo>
                  <a:pt x="1031290" y="1263192"/>
                </a:moveTo>
                <a:lnTo>
                  <a:pt x="1025931" y="1257922"/>
                </a:lnTo>
                <a:lnTo>
                  <a:pt x="11468" y="1257922"/>
                </a:lnTo>
                <a:lnTo>
                  <a:pt x="5334" y="1257922"/>
                </a:lnTo>
                <a:lnTo>
                  <a:pt x="0" y="1263192"/>
                </a:lnTo>
                <a:lnTo>
                  <a:pt x="0" y="1276731"/>
                </a:lnTo>
                <a:lnTo>
                  <a:pt x="5334" y="1281976"/>
                </a:lnTo>
                <a:lnTo>
                  <a:pt x="1025931" y="1281976"/>
                </a:lnTo>
                <a:lnTo>
                  <a:pt x="1031290" y="1276731"/>
                </a:lnTo>
                <a:lnTo>
                  <a:pt x="1031290" y="1263192"/>
                </a:lnTo>
                <a:close/>
              </a:path>
            </a:pathLst>
          </a:custGeom>
          <a:solidFill>
            <a:srgbClr val="30475E"/>
          </a:solidFill>
        </p:spPr>
        <p:txBody>
          <a:bodyPr wrap="square" lIns="0" tIns="0" rIns="0" bIns="0" rtlCol="0"/>
          <a:lstStyle/>
          <a:p>
            <a:endParaRPr/>
          </a:p>
        </p:txBody>
      </p:sp>
      <p:pic>
        <p:nvPicPr>
          <p:cNvPr id="36" name="bg object 36"/>
          <p:cNvPicPr/>
          <p:nvPr/>
        </p:nvPicPr>
        <p:blipFill>
          <a:blip r:embed="rId7" cstate="print"/>
          <a:stretch>
            <a:fillRect/>
          </a:stretch>
        </p:blipFill>
        <p:spPr>
          <a:xfrm>
            <a:off x="8134606" y="3014726"/>
            <a:ext cx="68026" cy="66170"/>
          </a:xfrm>
          <a:prstGeom prst="rect">
            <a:avLst/>
          </a:prstGeom>
        </p:spPr>
      </p:pic>
      <p:pic>
        <p:nvPicPr>
          <p:cNvPr id="37" name="bg object 37"/>
          <p:cNvPicPr/>
          <p:nvPr/>
        </p:nvPicPr>
        <p:blipFill>
          <a:blip r:embed="rId8" cstate="print"/>
          <a:stretch>
            <a:fillRect/>
          </a:stretch>
        </p:blipFill>
        <p:spPr>
          <a:xfrm>
            <a:off x="7297480" y="3506480"/>
            <a:ext cx="65756" cy="64650"/>
          </a:xfrm>
          <a:prstGeom prst="rect">
            <a:avLst/>
          </a:prstGeom>
        </p:spPr>
      </p:pic>
      <p:pic>
        <p:nvPicPr>
          <p:cNvPr id="38" name="bg object 38"/>
          <p:cNvPicPr/>
          <p:nvPr/>
        </p:nvPicPr>
        <p:blipFill>
          <a:blip r:embed="rId9" cstate="print"/>
          <a:stretch>
            <a:fillRect/>
          </a:stretch>
        </p:blipFill>
        <p:spPr>
          <a:xfrm>
            <a:off x="7250841" y="4255366"/>
            <a:ext cx="143729" cy="70681"/>
          </a:xfrm>
          <a:prstGeom prst="rect">
            <a:avLst/>
          </a:prstGeom>
        </p:spPr>
      </p:pic>
      <p:pic>
        <p:nvPicPr>
          <p:cNvPr id="39" name="bg object 39"/>
          <p:cNvPicPr/>
          <p:nvPr/>
        </p:nvPicPr>
        <p:blipFill>
          <a:blip r:embed="rId10" cstate="print"/>
          <a:stretch>
            <a:fillRect/>
          </a:stretch>
        </p:blipFill>
        <p:spPr>
          <a:xfrm>
            <a:off x="7973304" y="3691435"/>
            <a:ext cx="175834" cy="71441"/>
          </a:xfrm>
          <a:prstGeom prst="rect">
            <a:avLst/>
          </a:prstGeom>
        </p:spPr>
      </p:pic>
      <p:pic>
        <p:nvPicPr>
          <p:cNvPr id="40" name="bg object 40"/>
          <p:cNvPicPr/>
          <p:nvPr/>
        </p:nvPicPr>
        <p:blipFill>
          <a:blip r:embed="rId11" cstate="print"/>
          <a:stretch>
            <a:fillRect/>
          </a:stretch>
        </p:blipFill>
        <p:spPr>
          <a:xfrm>
            <a:off x="7425156" y="4255366"/>
            <a:ext cx="84078" cy="70681"/>
          </a:xfrm>
          <a:prstGeom prst="rect">
            <a:avLst/>
          </a:prstGeom>
        </p:spPr>
      </p:pic>
      <p:sp>
        <p:nvSpPr>
          <p:cNvPr id="41" name="bg object 41"/>
          <p:cNvSpPr/>
          <p:nvPr/>
        </p:nvSpPr>
        <p:spPr>
          <a:xfrm>
            <a:off x="8132313" y="4255366"/>
            <a:ext cx="55880" cy="54610"/>
          </a:xfrm>
          <a:custGeom>
            <a:avLst/>
            <a:gdLst/>
            <a:ahLst/>
            <a:cxnLst/>
            <a:rect l="l" t="t" r="r" b="b"/>
            <a:pathLst>
              <a:path w="55879" h="54610">
                <a:moveTo>
                  <a:pt x="51973" y="54132"/>
                </a:moveTo>
                <a:lnTo>
                  <a:pt x="3813" y="54132"/>
                </a:lnTo>
                <a:lnTo>
                  <a:pt x="0" y="50381"/>
                </a:lnTo>
                <a:lnTo>
                  <a:pt x="0" y="3015"/>
                </a:lnTo>
                <a:lnTo>
                  <a:pt x="3813" y="0"/>
                </a:lnTo>
                <a:lnTo>
                  <a:pt x="51973" y="0"/>
                </a:lnTo>
                <a:lnTo>
                  <a:pt x="55811" y="3015"/>
                </a:lnTo>
                <a:lnTo>
                  <a:pt x="55811" y="15788"/>
                </a:lnTo>
                <a:lnTo>
                  <a:pt x="16824" y="15788"/>
                </a:lnTo>
                <a:lnTo>
                  <a:pt x="16824" y="38344"/>
                </a:lnTo>
                <a:lnTo>
                  <a:pt x="55811" y="38344"/>
                </a:lnTo>
                <a:lnTo>
                  <a:pt x="55811" y="50381"/>
                </a:lnTo>
                <a:lnTo>
                  <a:pt x="51973" y="54132"/>
                </a:lnTo>
                <a:close/>
              </a:path>
              <a:path w="55879" h="54610">
                <a:moveTo>
                  <a:pt x="55811" y="38344"/>
                </a:moveTo>
                <a:lnTo>
                  <a:pt x="39758" y="38344"/>
                </a:lnTo>
                <a:lnTo>
                  <a:pt x="39758" y="15788"/>
                </a:lnTo>
                <a:lnTo>
                  <a:pt x="55811" y="15788"/>
                </a:lnTo>
                <a:lnTo>
                  <a:pt x="55811" y="38344"/>
                </a:lnTo>
                <a:close/>
              </a:path>
            </a:pathLst>
          </a:custGeom>
          <a:solidFill>
            <a:srgbClr val="30475E"/>
          </a:solidFill>
        </p:spPr>
        <p:txBody>
          <a:bodyPr wrap="square" lIns="0" tIns="0" rIns="0" bIns="0" rtlCol="0"/>
          <a:lstStyle/>
          <a:p>
            <a:endParaRPr/>
          </a:p>
        </p:txBody>
      </p:sp>
      <p:sp>
        <p:nvSpPr>
          <p:cNvPr id="42" name="bg object 42"/>
          <p:cNvSpPr/>
          <p:nvPr/>
        </p:nvSpPr>
        <p:spPr>
          <a:xfrm>
            <a:off x="5296056" y="4097455"/>
            <a:ext cx="1991995" cy="217170"/>
          </a:xfrm>
          <a:custGeom>
            <a:avLst/>
            <a:gdLst/>
            <a:ahLst/>
            <a:cxnLst/>
            <a:rect l="l" t="t" r="r" b="b"/>
            <a:pathLst>
              <a:path w="1991995" h="217170">
                <a:moveTo>
                  <a:pt x="1891344" y="216555"/>
                </a:moveTo>
                <a:lnTo>
                  <a:pt x="99384" y="216555"/>
                </a:lnTo>
                <a:lnTo>
                  <a:pt x="60625" y="208894"/>
                </a:lnTo>
                <a:lnTo>
                  <a:pt x="29043" y="187981"/>
                </a:lnTo>
                <a:lnTo>
                  <a:pt x="7785" y="156917"/>
                </a:lnTo>
                <a:lnTo>
                  <a:pt x="0" y="118807"/>
                </a:lnTo>
                <a:lnTo>
                  <a:pt x="0" y="0"/>
                </a:lnTo>
                <a:lnTo>
                  <a:pt x="1991477" y="0"/>
                </a:lnTo>
                <a:lnTo>
                  <a:pt x="1991477" y="118807"/>
                </a:lnTo>
                <a:lnTo>
                  <a:pt x="1983571" y="156917"/>
                </a:lnTo>
                <a:lnTo>
                  <a:pt x="1962050" y="187981"/>
                </a:lnTo>
                <a:lnTo>
                  <a:pt x="1930210" y="208894"/>
                </a:lnTo>
                <a:lnTo>
                  <a:pt x="1891344" y="216555"/>
                </a:lnTo>
                <a:close/>
              </a:path>
            </a:pathLst>
          </a:custGeom>
          <a:solidFill>
            <a:srgbClr val="CECECE"/>
          </a:solidFill>
        </p:spPr>
        <p:txBody>
          <a:bodyPr wrap="square" lIns="0" tIns="0" rIns="0" bIns="0" rtlCol="0"/>
          <a:lstStyle/>
          <a:p>
            <a:endParaRPr/>
          </a:p>
        </p:txBody>
      </p:sp>
      <p:sp>
        <p:nvSpPr>
          <p:cNvPr id="43" name="bg object 43"/>
          <p:cNvSpPr/>
          <p:nvPr/>
        </p:nvSpPr>
        <p:spPr>
          <a:xfrm>
            <a:off x="5296056" y="3096685"/>
            <a:ext cx="1990725" cy="1001394"/>
          </a:xfrm>
          <a:custGeom>
            <a:avLst/>
            <a:gdLst/>
            <a:ahLst/>
            <a:cxnLst/>
            <a:rect l="l" t="t" r="r" b="b"/>
            <a:pathLst>
              <a:path w="1990725" h="1001395">
                <a:moveTo>
                  <a:pt x="1990728" y="1000770"/>
                </a:moveTo>
                <a:lnTo>
                  <a:pt x="0" y="1000770"/>
                </a:lnTo>
                <a:lnTo>
                  <a:pt x="0" y="97747"/>
                </a:lnTo>
                <a:lnTo>
                  <a:pt x="7785" y="59637"/>
                </a:lnTo>
                <a:lnTo>
                  <a:pt x="29043" y="28574"/>
                </a:lnTo>
                <a:lnTo>
                  <a:pt x="60625" y="7660"/>
                </a:lnTo>
                <a:lnTo>
                  <a:pt x="99384" y="0"/>
                </a:lnTo>
                <a:lnTo>
                  <a:pt x="1891344" y="0"/>
                </a:lnTo>
                <a:lnTo>
                  <a:pt x="1930093" y="7660"/>
                </a:lnTo>
                <a:lnTo>
                  <a:pt x="1961676" y="28574"/>
                </a:lnTo>
                <a:lnTo>
                  <a:pt x="1982940" y="59637"/>
                </a:lnTo>
                <a:lnTo>
                  <a:pt x="1990728" y="97747"/>
                </a:lnTo>
                <a:lnTo>
                  <a:pt x="1990728" y="1000770"/>
                </a:lnTo>
                <a:close/>
              </a:path>
            </a:pathLst>
          </a:custGeom>
          <a:solidFill>
            <a:srgbClr val="222831"/>
          </a:solidFill>
        </p:spPr>
        <p:txBody>
          <a:bodyPr wrap="square" lIns="0" tIns="0" rIns="0" bIns="0" rtlCol="0"/>
          <a:lstStyle/>
          <a:p>
            <a:endParaRPr/>
          </a:p>
        </p:txBody>
      </p:sp>
      <p:sp>
        <p:nvSpPr>
          <p:cNvPr id="44" name="bg object 44"/>
          <p:cNvSpPr/>
          <p:nvPr/>
        </p:nvSpPr>
        <p:spPr>
          <a:xfrm>
            <a:off x="6088066" y="4314011"/>
            <a:ext cx="422909" cy="101600"/>
          </a:xfrm>
          <a:custGeom>
            <a:avLst/>
            <a:gdLst/>
            <a:ahLst/>
            <a:cxnLst/>
            <a:rect l="l" t="t" r="r" b="b"/>
            <a:pathLst>
              <a:path w="422909" h="101600">
                <a:moveTo>
                  <a:pt x="422763" y="101498"/>
                </a:moveTo>
                <a:lnTo>
                  <a:pt x="203354" y="48885"/>
                </a:lnTo>
                <a:lnTo>
                  <a:pt x="0" y="0"/>
                </a:lnTo>
                <a:lnTo>
                  <a:pt x="406710" y="0"/>
                </a:lnTo>
                <a:lnTo>
                  <a:pt x="407820" y="28232"/>
                </a:lnTo>
                <a:lnTo>
                  <a:pt x="411007" y="54417"/>
                </a:lnTo>
                <a:lnTo>
                  <a:pt x="416059" y="78768"/>
                </a:lnTo>
                <a:lnTo>
                  <a:pt x="422763" y="101498"/>
                </a:lnTo>
                <a:close/>
              </a:path>
            </a:pathLst>
          </a:custGeom>
          <a:solidFill>
            <a:srgbClr val="C4C4C4"/>
          </a:solidFill>
        </p:spPr>
        <p:txBody>
          <a:bodyPr wrap="square" lIns="0" tIns="0" rIns="0" bIns="0" rtlCol="0"/>
          <a:lstStyle/>
          <a:p>
            <a:endParaRPr/>
          </a:p>
        </p:txBody>
      </p:sp>
      <p:sp>
        <p:nvSpPr>
          <p:cNvPr id="45" name="bg object 45"/>
          <p:cNvSpPr/>
          <p:nvPr/>
        </p:nvSpPr>
        <p:spPr>
          <a:xfrm>
            <a:off x="5885459" y="4314011"/>
            <a:ext cx="812800" cy="276860"/>
          </a:xfrm>
          <a:custGeom>
            <a:avLst/>
            <a:gdLst/>
            <a:ahLst/>
            <a:cxnLst/>
            <a:rect l="l" t="t" r="r" b="b"/>
            <a:pathLst>
              <a:path w="812800" h="276860">
                <a:moveTo>
                  <a:pt x="812672" y="276694"/>
                </a:moveTo>
                <a:lnTo>
                  <a:pt x="0" y="276694"/>
                </a:lnTo>
                <a:lnTo>
                  <a:pt x="31657" y="265500"/>
                </a:lnTo>
                <a:lnTo>
                  <a:pt x="101303" y="223784"/>
                </a:lnTo>
                <a:lnTo>
                  <a:pt x="170949" y="139350"/>
                </a:lnTo>
                <a:lnTo>
                  <a:pt x="202606" y="0"/>
                </a:lnTo>
                <a:lnTo>
                  <a:pt x="405961" y="48885"/>
                </a:lnTo>
                <a:lnTo>
                  <a:pt x="625370" y="101498"/>
                </a:lnTo>
                <a:lnTo>
                  <a:pt x="674628" y="188510"/>
                </a:lnTo>
                <a:lnTo>
                  <a:pt x="736791" y="242107"/>
                </a:lnTo>
                <a:lnTo>
                  <a:pt x="790070" y="269199"/>
                </a:lnTo>
                <a:lnTo>
                  <a:pt x="812672" y="276694"/>
                </a:lnTo>
                <a:close/>
              </a:path>
            </a:pathLst>
          </a:custGeom>
          <a:solidFill>
            <a:srgbClr val="CECECE"/>
          </a:solidFill>
        </p:spPr>
        <p:txBody>
          <a:bodyPr wrap="square" lIns="0" tIns="0" rIns="0" bIns="0" rtlCol="0"/>
          <a:lstStyle/>
          <a:p>
            <a:endParaRPr/>
          </a:p>
        </p:txBody>
      </p:sp>
      <p:sp>
        <p:nvSpPr>
          <p:cNvPr id="46" name="bg object 46"/>
          <p:cNvSpPr/>
          <p:nvPr/>
        </p:nvSpPr>
        <p:spPr>
          <a:xfrm>
            <a:off x="5880872" y="4578692"/>
            <a:ext cx="821690" cy="67945"/>
          </a:xfrm>
          <a:custGeom>
            <a:avLst/>
            <a:gdLst/>
            <a:ahLst/>
            <a:cxnLst/>
            <a:rect l="l" t="t" r="r" b="b"/>
            <a:pathLst>
              <a:path w="821690" h="67945">
                <a:moveTo>
                  <a:pt x="795847" y="67665"/>
                </a:moveTo>
                <a:lnTo>
                  <a:pt x="25226" y="67665"/>
                </a:lnTo>
                <a:lnTo>
                  <a:pt x="15479" y="65692"/>
                </a:lnTo>
                <a:lnTo>
                  <a:pt x="7453" y="60335"/>
                </a:lnTo>
                <a:lnTo>
                  <a:pt x="2006" y="52441"/>
                </a:lnTo>
                <a:lnTo>
                  <a:pt x="0" y="42854"/>
                </a:lnTo>
                <a:lnTo>
                  <a:pt x="0" y="24810"/>
                </a:lnTo>
                <a:lnTo>
                  <a:pt x="2006" y="15224"/>
                </a:lnTo>
                <a:lnTo>
                  <a:pt x="7453" y="7330"/>
                </a:lnTo>
                <a:lnTo>
                  <a:pt x="15479" y="1973"/>
                </a:lnTo>
                <a:lnTo>
                  <a:pt x="25226" y="0"/>
                </a:lnTo>
                <a:lnTo>
                  <a:pt x="795847" y="0"/>
                </a:lnTo>
                <a:lnTo>
                  <a:pt x="805594" y="1973"/>
                </a:lnTo>
                <a:lnTo>
                  <a:pt x="813620" y="7330"/>
                </a:lnTo>
                <a:lnTo>
                  <a:pt x="819066" y="15224"/>
                </a:lnTo>
                <a:lnTo>
                  <a:pt x="821073" y="24810"/>
                </a:lnTo>
                <a:lnTo>
                  <a:pt x="821073" y="42854"/>
                </a:lnTo>
                <a:lnTo>
                  <a:pt x="819066" y="52441"/>
                </a:lnTo>
                <a:lnTo>
                  <a:pt x="813620" y="60335"/>
                </a:lnTo>
                <a:lnTo>
                  <a:pt x="805594" y="65692"/>
                </a:lnTo>
                <a:lnTo>
                  <a:pt x="795847" y="67665"/>
                </a:lnTo>
                <a:close/>
              </a:path>
            </a:pathLst>
          </a:custGeom>
          <a:solidFill>
            <a:srgbClr val="FFFFFF"/>
          </a:solidFill>
        </p:spPr>
        <p:txBody>
          <a:bodyPr wrap="square" lIns="0" tIns="0" rIns="0" bIns="0" rtlCol="0"/>
          <a:lstStyle/>
          <a:p>
            <a:endParaRPr/>
          </a:p>
        </p:txBody>
      </p:sp>
      <p:sp>
        <p:nvSpPr>
          <p:cNvPr id="47" name="bg object 47"/>
          <p:cNvSpPr/>
          <p:nvPr/>
        </p:nvSpPr>
        <p:spPr>
          <a:xfrm>
            <a:off x="4616491" y="3571440"/>
            <a:ext cx="635635" cy="378460"/>
          </a:xfrm>
          <a:custGeom>
            <a:avLst/>
            <a:gdLst/>
            <a:ahLst/>
            <a:cxnLst/>
            <a:rect l="l" t="t" r="r" b="b"/>
            <a:pathLst>
              <a:path w="635635" h="378460">
                <a:moveTo>
                  <a:pt x="32806" y="377909"/>
                </a:moveTo>
                <a:lnTo>
                  <a:pt x="6035" y="325272"/>
                </a:lnTo>
                <a:lnTo>
                  <a:pt x="0" y="303133"/>
                </a:lnTo>
                <a:lnTo>
                  <a:pt x="3071" y="281283"/>
                </a:lnTo>
                <a:lnTo>
                  <a:pt x="32806" y="248583"/>
                </a:lnTo>
                <a:lnTo>
                  <a:pt x="530476" y="5722"/>
                </a:lnTo>
                <a:lnTo>
                  <a:pt x="556185" y="0"/>
                </a:lnTo>
                <a:lnTo>
                  <a:pt x="572178" y="2133"/>
                </a:lnTo>
                <a:lnTo>
                  <a:pt x="586958" y="8357"/>
                </a:lnTo>
                <a:lnTo>
                  <a:pt x="599610" y="18410"/>
                </a:lnTo>
                <a:lnTo>
                  <a:pt x="609221" y="32028"/>
                </a:lnTo>
                <a:lnTo>
                  <a:pt x="635219" y="84665"/>
                </a:lnTo>
                <a:lnTo>
                  <a:pt x="32806" y="377909"/>
                </a:lnTo>
                <a:close/>
              </a:path>
            </a:pathLst>
          </a:custGeom>
          <a:solidFill>
            <a:srgbClr val="CECECE"/>
          </a:solidFill>
        </p:spPr>
        <p:txBody>
          <a:bodyPr wrap="square" lIns="0" tIns="0" rIns="0" bIns="0" rtlCol="0"/>
          <a:lstStyle/>
          <a:p>
            <a:endParaRPr/>
          </a:p>
        </p:txBody>
      </p:sp>
      <p:sp>
        <p:nvSpPr>
          <p:cNvPr id="48" name="bg object 48"/>
          <p:cNvSpPr/>
          <p:nvPr/>
        </p:nvSpPr>
        <p:spPr>
          <a:xfrm>
            <a:off x="4649297" y="3656106"/>
            <a:ext cx="917575" cy="920750"/>
          </a:xfrm>
          <a:custGeom>
            <a:avLst/>
            <a:gdLst/>
            <a:ahLst/>
            <a:cxnLst/>
            <a:rect l="l" t="t" r="r" b="b"/>
            <a:pathLst>
              <a:path w="917575" h="920750">
                <a:moveTo>
                  <a:pt x="314954" y="920330"/>
                </a:moveTo>
                <a:lnTo>
                  <a:pt x="0" y="293243"/>
                </a:lnTo>
                <a:lnTo>
                  <a:pt x="602413" y="0"/>
                </a:lnTo>
                <a:lnTo>
                  <a:pt x="917368" y="627086"/>
                </a:lnTo>
                <a:lnTo>
                  <a:pt x="314954" y="920330"/>
                </a:lnTo>
                <a:close/>
              </a:path>
            </a:pathLst>
          </a:custGeom>
          <a:solidFill>
            <a:srgbClr val="222831"/>
          </a:solidFill>
        </p:spPr>
        <p:txBody>
          <a:bodyPr wrap="square" lIns="0" tIns="0" rIns="0" bIns="0" rtlCol="0"/>
          <a:lstStyle/>
          <a:p>
            <a:endParaRPr/>
          </a:p>
        </p:txBody>
      </p:sp>
      <p:sp>
        <p:nvSpPr>
          <p:cNvPr id="49" name="bg object 49"/>
          <p:cNvSpPr/>
          <p:nvPr/>
        </p:nvSpPr>
        <p:spPr>
          <a:xfrm>
            <a:off x="4964252" y="4282433"/>
            <a:ext cx="643890" cy="394335"/>
          </a:xfrm>
          <a:custGeom>
            <a:avLst/>
            <a:gdLst/>
            <a:ahLst/>
            <a:cxnLst/>
            <a:rect l="l" t="t" r="r" b="b"/>
            <a:pathLst>
              <a:path w="643889" h="394335">
                <a:moveTo>
                  <a:pt x="87290" y="394006"/>
                </a:moveTo>
                <a:lnTo>
                  <a:pt x="43987" y="375316"/>
                </a:lnTo>
                <a:lnTo>
                  <a:pt x="0" y="294003"/>
                </a:lnTo>
                <a:lnTo>
                  <a:pt x="603185" y="0"/>
                </a:lnTo>
                <a:lnTo>
                  <a:pt x="637585" y="68426"/>
                </a:lnTo>
                <a:lnTo>
                  <a:pt x="643294" y="90567"/>
                </a:lnTo>
                <a:lnTo>
                  <a:pt x="640262" y="112501"/>
                </a:lnTo>
                <a:lnTo>
                  <a:pt x="610838" y="145874"/>
                </a:lnTo>
                <a:lnTo>
                  <a:pt x="113144" y="387976"/>
                </a:lnTo>
                <a:lnTo>
                  <a:pt x="87290" y="394006"/>
                </a:lnTo>
                <a:close/>
              </a:path>
            </a:pathLst>
          </a:custGeom>
          <a:solidFill>
            <a:srgbClr val="CECECE"/>
          </a:solidFill>
        </p:spPr>
        <p:txBody>
          <a:bodyPr wrap="square" lIns="0" tIns="0" rIns="0" bIns="0" rtlCol="0"/>
          <a:lstStyle/>
          <a:p>
            <a:endParaRPr/>
          </a:p>
        </p:txBody>
      </p:sp>
      <p:pic>
        <p:nvPicPr>
          <p:cNvPr id="50" name="bg object 50"/>
          <p:cNvPicPr/>
          <p:nvPr/>
        </p:nvPicPr>
        <p:blipFill>
          <a:blip r:embed="rId12" cstate="print"/>
          <a:stretch>
            <a:fillRect/>
          </a:stretch>
        </p:blipFill>
        <p:spPr>
          <a:xfrm>
            <a:off x="4861826" y="3716127"/>
            <a:ext cx="124610" cy="69422"/>
          </a:xfrm>
          <a:prstGeom prst="rect">
            <a:avLst/>
          </a:prstGeom>
        </p:spPr>
      </p:pic>
      <p:pic>
        <p:nvPicPr>
          <p:cNvPr id="51" name="bg object 51"/>
          <p:cNvPicPr/>
          <p:nvPr/>
        </p:nvPicPr>
        <p:blipFill>
          <a:blip r:embed="rId13" cstate="print"/>
          <a:stretch>
            <a:fillRect/>
          </a:stretch>
        </p:blipFill>
        <p:spPr>
          <a:xfrm>
            <a:off x="5234371" y="4442030"/>
            <a:ext cx="134930" cy="93046"/>
          </a:xfrm>
          <a:prstGeom prst="rect">
            <a:avLst/>
          </a:prstGeom>
        </p:spPr>
      </p:pic>
      <p:pic>
        <p:nvPicPr>
          <p:cNvPr id="52" name="bg object 52"/>
          <p:cNvPicPr/>
          <p:nvPr/>
        </p:nvPicPr>
        <p:blipFill>
          <a:blip r:embed="rId14" cstate="print"/>
          <a:stretch>
            <a:fillRect/>
          </a:stretch>
        </p:blipFill>
        <p:spPr>
          <a:xfrm>
            <a:off x="4902333" y="4083922"/>
            <a:ext cx="144477" cy="120303"/>
          </a:xfrm>
          <a:prstGeom prst="rect">
            <a:avLst/>
          </a:prstGeom>
        </p:spPr>
      </p:pic>
      <p:sp>
        <p:nvSpPr>
          <p:cNvPr id="53" name="bg object 53"/>
          <p:cNvSpPr/>
          <p:nvPr/>
        </p:nvSpPr>
        <p:spPr>
          <a:xfrm>
            <a:off x="5070516" y="3950845"/>
            <a:ext cx="57150" cy="296545"/>
          </a:xfrm>
          <a:custGeom>
            <a:avLst/>
            <a:gdLst/>
            <a:ahLst/>
            <a:cxnLst/>
            <a:rect l="l" t="t" r="r" b="b"/>
            <a:pathLst>
              <a:path w="57150" h="296545">
                <a:moveTo>
                  <a:pt x="23705" y="296258"/>
                </a:moveTo>
                <a:lnTo>
                  <a:pt x="0" y="15788"/>
                </a:lnTo>
                <a:lnTo>
                  <a:pt x="32106" y="0"/>
                </a:lnTo>
                <a:lnTo>
                  <a:pt x="56584" y="280445"/>
                </a:lnTo>
                <a:lnTo>
                  <a:pt x="23705" y="296258"/>
                </a:lnTo>
                <a:close/>
              </a:path>
            </a:pathLst>
          </a:custGeom>
          <a:solidFill>
            <a:srgbClr val="F1A365"/>
          </a:solidFill>
        </p:spPr>
        <p:txBody>
          <a:bodyPr wrap="square" lIns="0" tIns="0" rIns="0" bIns="0" rtlCol="0"/>
          <a:lstStyle/>
          <a:p>
            <a:endParaRPr/>
          </a:p>
        </p:txBody>
      </p:sp>
      <p:pic>
        <p:nvPicPr>
          <p:cNvPr id="54" name="bg object 54"/>
          <p:cNvPicPr/>
          <p:nvPr/>
        </p:nvPicPr>
        <p:blipFill>
          <a:blip r:embed="rId15" cstate="print"/>
          <a:stretch>
            <a:fillRect/>
          </a:stretch>
        </p:blipFill>
        <p:spPr>
          <a:xfrm>
            <a:off x="5150782" y="3993700"/>
            <a:ext cx="144501" cy="120303"/>
          </a:xfrm>
          <a:prstGeom prst="rect">
            <a:avLst/>
          </a:prstGeom>
        </p:spPr>
      </p:pic>
      <p:sp>
        <p:nvSpPr>
          <p:cNvPr id="55" name="bg object 55"/>
          <p:cNvSpPr/>
          <p:nvPr/>
        </p:nvSpPr>
        <p:spPr>
          <a:xfrm>
            <a:off x="5442827" y="3537298"/>
            <a:ext cx="1710689" cy="324485"/>
          </a:xfrm>
          <a:custGeom>
            <a:avLst/>
            <a:gdLst/>
            <a:ahLst/>
            <a:cxnLst/>
            <a:rect l="l" t="t" r="r" b="b"/>
            <a:pathLst>
              <a:path w="1710690" h="324485">
                <a:moveTo>
                  <a:pt x="100905" y="324061"/>
                </a:moveTo>
                <a:lnTo>
                  <a:pt x="0" y="324061"/>
                </a:lnTo>
                <a:lnTo>
                  <a:pt x="0" y="300769"/>
                </a:lnTo>
                <a:lnTo>
                  <a:pt x="100905" y="300769"/>
                </a:lnTo>
                <a:lnTo>
                  <a:pt x="135874" y="297315"/>
                </a:lnTo>
                <a:lnTo>
                  <a:pt x="169046" y="287233"/>
                </a:lnTo>
                <a:lnTo>
                  <a:pt x="199493" y="270951"/>
                </a:lnTo>
                <a:lnTo>
                  <a:pt x="226288" y="248892"/>
                </a:lnTo>
                <a:lnTo>
                  <a:pt x="420470" y="58643"/>
                </a:lnTo>
                <a:lnTo>
                  <a:pt x="451403" y="33624"/>
                </a:lnTo>
                <a:lnTo>
                  <a:pt x="486210" y="15227"/>
                </a:lnTo>
                <a:lnTo>
                  <a:pt x="523886" y="3877"/>
                </a:lnTo>
                <a:lnTo>
                  <a:pt x="563427" y="0"/>
                </a:lnTo>
                <a:lnTo>
                  <a:pt x="603294" y="3877"/>
                </a:lnTo>
                <a:lnTo>
                  <a:pt x="640935" y="15227"/>
                </a:lnTo>
                <a:lnTo>
                  <a:pt x="675561" y="33624"/>
                </a:lnTo>
                <a:lnTo>
                  <a:pt x="706384" y="58643"/>
                </a:lnTo>
                <a:lnTo>
                  <a:pt x="810355" y="160902"/>
                </a:lnTo>
                <a:lnTo>
                  <a:pt x="838283" y="183107"/>
                </a:lnTo>
                <a:lnTo>
                  <a:pt x="869221" y="198971"/>
                </a:lnTo>
                <a:lnTo>
                  <a:pt x="902168" y="208490"/>
                </a:lnTo>
                <a:lnTo>
                  <a:pt x="936124" y="211664"/>
                </a:lnTo>
                <a:lnTo>
                  <a:pt x="970067" y="208490"/>
                </a:lnTo>
                <a:lnTo>
                  <a:pt x="1003008" y="198971"/>
                </a:lnTo>
                <a:lnTo>
                  <a:pt x="1033943" y="183107"/>
                </a:lnTo>
                <a:lnTo>
                  <a:pt x="1061870" y="160902"/>
                </a:lnTo>
                <a:lnTo>
                  <a:pt x="1092707" y="135883"/>
                </a:lnTo>
                <a:lnTo>
                  <a:pt x="1127338" y="117486"/>
                </a:lnTo>
                <a:lnTo>
                  <a:pt x="1164973" y="106136"/>
                </a:lnTo>
                <a:lnTo>
                  <a:pt x="1204827" y="102258"/>
                </a:lnTo>
                <a:lnTo>
                  <a:pt x="1244369" y="106125"/>
                </a:lnTo>
                <a:lnTo>
                  <a:pt x="1282048" y="117394"/>
                </a:lnTo>
                <a:lnTo>
                  <a:pt x="1316862" y="135573"/>
                </a:lnTo>
                <a:lnTo>
                  <a:pt x="1347808" y="160166"/>
                </a:lnTo>
                <a:lnTo>
                  <a:pt x="1362316" y="175195"/>
                </a:lnTo>
                <a:lnTo>
                  <a:pt x="1390247" y="197400"/>
                </a:lnTo>
                <a:lnTo>
                  <a:pt x="1421191" y="213264"/>
                </a:lnTo>
                <a:lnTo>
                  <a:pt x="1454139" y="222783"/>
                </a:lnTo>
                <a:lnTo>
                  <a:pt x="1488085" y="225957"/>
                </a:lnTo>
                <a:lnTo>
                  <a:pt x="1522028" y="222783"/>
                </a:lnTo>
                <a:lnTo>
                  <a:pt x="1554969" y="213264"/>
                </a:lnTo>
                <a:lnTo>
                  <a:pt x="1585904" y="197400"/>
                </a:lnTo>
                <a:lnTo>
                  <a:pt x="1613831" y="175195"/>
                </a:lnTo>
                <a:lnTo>
                  <a:pt x="1693348" y="96251"/>
                </a:lnTo>
                <a:lnTo>
                  <a:pt x="1710174" y="113536"/>
                </a:lnTo>
                <a:lnTo>
                  <a:pt x="1630656" y="191744"/>
                </a:lnTo>
                <a:lnTo>
                  <a:pt x="1598994" y="217155"/>
                </a:lnTo>
                <a:lnTo>
                  <a:pt x="1563840" y="235302"/>
                </a:lnTo>
                <a:lnTo>
                  <a:pt x="1526355" y="246189"/>
                </a:lnTo>
                <a:lnTo>
                  <a:pt x="1487699" y="249818"/>
                </a:lnTo>
                <a:lnTo>
                  <a:pt x="1449044" y="246189"/>
                </a:lnTo>
                <a:lnTo>
                  <a:pt x="1411559" y="235302"/>
                </a:lnTo>
                <a:lnTo>
                  <a:pt x="1376405" y="217155"/>
                </a:lnTo>
                <a:lnTo>
                  <a:pt x="1344742" y="191744"/>
                </a:lnTo>
                <a:lnTo>
                  <a:pt x="1330210" y="177451"/>
                </a:lnTo>
                <a:lnTo>
                  <a:pt x="1303100" y="155507"/>
                </a:lnTo>
                <a:lnTo>
                  <a:pt x="1272688" y="139478"/>
                </a:lnTo>
                <a:lnTo>
                  <a:pt x="1239691" y="129650"/>
                </a:lnTo>
                <a:lnTo>
                  <a:pt x="1204827" y="126310"/>
                </a:lnTo>
                <a:lnTo>
                  <a:pt x="1169860" y="129650"/>
                </a:lnTo>
                <a:lnTo>
                  <a:pt x="1136610" y="139478"/>
                </a:lnTo>
                <a:lnTo>
                  <a:pt x="1105936" y="155507"/>
                </a:lnTo>
                <a:lnTo>
                  <a:pt x="1078696" y="177451"/>
                </a:lnTo>
                <a:lnTo>
                  <a:pt x="1047868" y="202351"/>
                </a:lnTo>
                <a:lnTo>
                  <a:pt x="1013237" y="220487"/>
                </a:lnTo>
                <a:lnTo>
                  <a:pt x="975596" y="231576"/>
                </a:lnTo>
                <a:lnTo>
                  <a:pt x="935739" y="235335"/>
                </a:lnTo>
                <a:lnTo>
                  <a:pt x="896197" y="231576"/>
                </a:lnTo>
                <a:lnTo>
                  <a:pt x="858521" y="220487"/>
                </a:lnTo>
                <a:lnTo>
                  <a:pt x="823714" y="202351"/>
                </a:lnTo>
                <a:lnTo>
                  <a:pt x="792781" y="177451"/>
                </a:lnTo>
                <a:lnTo>
                  <a:pt x="689583" y="75192"/>
                </a:lnTo>
                <a:lnTo>
                  <a:pt x="661620" y="52741"/>
                </a:lnTo>
                <a:lnTo>
                  <a:pt x="630600" y="36708"/>
                </a:lnTo>
                <a:lnTo>
                  <a:pt x="597556" y="27090"/>
                </a:lnTo>
                <a:lnTo>
                  <a:pt x="563524" y="23884"/>
                </a:lnTo>
                <a:lnTo>
                  <a:pt x="529528" y="27090"/>
                </a:lnTo>
                <a:lnTo>
                  <a:pt x="496593" y="36708"/>
                </a:lnTo>
                <a:lnTo>
                  <a:pt x="465753" y="52741"/>
                </a:lnTo>
                <a:lnTo>
                  <a:pt x="438044" y="75192"/>
                </a:lnTo>
                <a:lnTo>
                  <a:pt x="243862" y="266176"/>
                </a:lnTo>
                <a:lnTo>
                  <a:pt x="213038" y="291077"/>
                </a:lnTo>
                <a:lnTo>
                  <a:pt x="178412" y="309213"/>
                </a:lnTo>
                <a:lnTo>
                  <a:pt x="140772" y="320302"/>
                </a:lnTo>
                <a:lnTo>
                  <a:pt x="100905" y="324061"/>
                </a:lnTo>
                <a:close/>
              </a:path>
            </a:pathLst>
          </a:custGeom>
          <a:solidFill>
            <a:srgbClr val="F1A365"/>
          </a:solidFill>
        </p:spPr>
        <p:txBody>
          <a:bodyPr wrap="square" lIns="0" tIns="0" rIns="0" bIns="0" rtlCol="0"/>
          <a:lstStyle/>
          <a:p>
            <a:endParaRPr/>
          </a:p>
        </p:txBody>
      </p:sp>
      <p:pic>
        <p:nvPicPr>
          <p:cNvPr id="56" name="bg object 56"/>
          <p:cNvPicPr/>
          <p:nvPr/>
        </p:nvPicPr>
        <p:blipFill>
          <a:blip r:embed="rId16" cstate="print"/>
          <a:stretch>
            <a:fillRect/>
          </a:stretch>
        </p:blipFill>
        <p:spPr>
          <a:xfrm>
            <a:off x="5941270" y="3495203"/>
            <a:ext cx="110102" cy="108266"/>
          </a:xfrm>
          <a:prstGeom prst="rect">
            <a:avLst/>
          </a:prstGeom>
        </p:spPr>
      </p:pic>
      <p:pic>
        <p:nvPicPr>
          <p:cNvPr id="57" name="bg object 57"/>
          <p:cNvPicPr/>
          <p:nvPr/>
        </p:nvPicPr>
        <p:blipFill>
          <a:blip r:embed="rId17" cstate="print"/>
          <a:stretch>
            <a:fillRect/>
          </a:stretch>
        </p:blipFill>
        <p:spPr>
          <a:xfrm>
            <a:off x="6337287" y="3724532"/>
            <a:ext cx="72613" cy="72177"/>
          </a:xfrm>
          <a:prstGeom prst="rect">
            <a:avLst/>
          </a:prstGeom>
        </p:spPr>
      </p:pic>
      <p:pic>
        <p:nvPicPr>
          <p:cNvPr id="58" name="bg object 58"/>
          <p:cNvPicPr/>
          <p:nvPr/>
        </p:nvPicPr>
        <p:blipFill>
          <a:blip r:embed="rId18" cstate="print"/>
          <a:stretch>
            <a:fillRect/>
          </a:stretch>
        </p:blipFill>
        <p:spPr>
          <a:xfrm>
            <a:off x="6866315" y="3724532"/>
            <a:ext cx="101678" cy="100003"/>
          </a:xfrm>
          <a:prstGeom prst="rect">
            <a:avLst/>
          </a:prstGeom>
        </p:spPr>
      </p:pic>
      <p:pic>
        <p:nvPicPr>
          <p:cNvPr id="59" name="bg object 59"/>
          <p:cNvPicPr/>
          <p:nvPr/>
        </p:nvPicPr>
        <p:blipFill>
          <a:blip r:embed="rId19" cstate="print"/>
          <a:stretch>
            <a:fillRect/>
          </a:stretch>
        </p:blipFill>
        <p:spPr>
          <a:xfrm>
            <a:off x="7094124" y="3592191"/>
            <a:ext cx="101677" cy="100003"/>
          </a:xfrm>
          <a:prstGeom prst="rect">
            <a:avLst/>
          </a:prstGeom>
        </p:spPr>
      </p:pic>
      <p:pic>
        <p:nvPicPr>
          <p:cNvPr id="60" name="bg object 60"/>
          <p:cNvPicPr/>
          <p:nvPr/>
        </p:nvPicPr>
        <p:blipFill>
          <a:blip r:embed="rId20" cstate="print"/>
          <a:stretch>
            <a:fillRect/>
          </a:stretch>
        </p:blipFill>
        <p:spPr>
          <a:xfrm>
            <a:off x="5392375" y="3799724"/>
            <a:ext cx="100905" cy="100003"/>
          </a:xfrm>
          <a:prstGeom prst="rect">
            <a:avLst/>
          </a:prstGeom>
        </p:spPr>
      </p:pic>
      <p:sp>
        <p:nvSpPr>
          <p:cNvPr id="61" name="bg object 61"/>
          <p:cNvSpPr/>
          <p:nvPr/>
        </p:nvSpPr>
        <p:spPr>
          <a:xfrm>
            <a:off x="5765431" y="3253079"/>
            <a:ext cx="1332865" cy="658495"/>
          </a:xfrm>
          <a:custGeom>
            <a:avLst/>
            <a:gdLst/>
            <a:ahLst/>
            <a:cxnLst/>
            <a:rect l="l" t="t" r="r" b="b"/>
            <a:pathLst>
              <a:path w="1332865" h="658495">
                <a:moveTo>
                  <a:pt x="115430" y="639864"/>
                </a:moveTo>
                <a:lnTo>
                  <a:pt x="110096" y="634619"/>
                </a:lnTo>
                <a:lnTo>
                  <a:pt x="12230" y="634619"/>
                </a:lnTo>
                <a:lnTo>
                  <a:pt x="5359" y="634619"/>
                </a:lnTo>
                <a:lnTo>
                  <a:pt x="0" y="639864"/>
                </a:lnTo>
                <a:lnTo>
                  <a:pt x="0" y="652665"/>
                </a:lnTo>
                <a:lnTo>
                  <a:pt x="5359" y="657936"/>
                </a:lnTo>
                <a:lnTo>
                  <a:pt x="110096" y="657936"/>
                </a:lnTo>
                <a:lnTo>
                  <a:pt x="115430" y="652665"/>
                </a:lnTo>
                <a:lnTo>
                  <a:pt x="115430" y="639864"/>
                </a:lnTo>
                <a:close/>
              </a:path>
              <a:path w="1332865" h="658495">
                <a:moveTo>
                  <a:pt x="212521" y="639864"/>
                </a:moveTo>
                <a:lnTo>
                  <a:pt x="207187" y="634619"/>
                </a:lnTo>
                <a:lnTo>
                  <a:pt x="175831" y="634619"/>
                </a:lnTo>
                <a:lnTo>
                  <a:pt x="168948" y="634619"/>
                </a:lnTo>
                <a:lnTo>
                  <a:pt x="163614" y="639864"/>
                </a:lnTo>
                <a:lnTo>
                  <a:pt x="163614" y="652665"/>
                </a:lnTo>
                <a:lnTo>
                  <a:pt x="168948" y="657936"/>
                </a:lnTo>
                <a:lnTo>
                  <a:pt x="207187" y="657936"/>
                </a:lnTo>
                <a:lnTo>
                  <a:pt x="212521" y="652665"/>
                </a:lnTo>
                <a:lnTo>
                  <a:pt x="212521" y="639864"/>
                </a:lnTo>
                <a:close/>
              </a:path>
              <a:path w="1332865" h="658495">
                <a:moveTo>
                  <a:pt x="1037412" y="5270"/>
                </a:moveTo>
                <a:lnTo>
                  <a:pt x="1032078" y="0"/>
                </a:lnTo>
                <a:lnTo>
                  <a:pt x="882218" y="0"/>
                </a:lnTo>
                <a:lnTo>
                  <a:pt x="875334" y="0"/>
                </a:lnTo>
                <a:lnTo>
                  <a:pt x="870000" y="5270"/>
                </a:lnTo>
                <a:lnTo>
                  <a:pt x="870000" y="18046"/>
                </a:lnTo>
                <a:lnTo>
                  <a:pt x="875334" y="23317"/>
                </a:lnTo>
                <a:lnTo>
                  <a:pt x="1032078" y="23317"/>
                </a:lnTo>
                <a:lnTo>
                  <a:pt x="1037412" y="18046"/>
                </a:lnTo>
                <a:lnTo>
                  <a:pt x="1037412" y="5270"/>
                </a:lnTo>
                <a:close/>
              </a:path>
              <a:path w="1332865" h="658495">
                <a:moveTo>
                  <a:pt x="1168908" y="5270"/>
                </a:moveTo>
                <a:lnTo>
                  <a:pt x="1163574" y="0"/>
                </a:lnTo>
                <a:lnTo>
                  <a:pt x="1102398" y="0"/>
                </a:lnTo>
                <a:lnTo>
                  <a:pt x="1095514" y="0"/>
                </a:lnTo>
                <a:lnTo>
                  <a:pt x="1090155" y="5270"/>
                </a:lnTo>
                <a:lnTo>
                  <a:pt x="1090155" y="18046"/>
                </a:lnTo>
                <a:lnTo>
                  <a:pt x="1095514" y="23317"/>
                </a:lnTo>
                <a:lnTo>
                  <a:pt x="1163574" y="23317"/>
                </a:lnTo>
                <a:lnTo>
                  <a:pt x="1168908" y="18046"/>
                </a:lnTo>
                <a:lnTo>
                  <a:pt x="1168908" y="5270"/>
                </a:lnTo>
                <a:close/>
              </a:path>
              <a:path w="1332865" h="658495">
                <a:moveTo>
                  <a:pt x="1299641" y="74434"/>
                </a:moveTo>
                <a:lnTo>
                  <a:pt x="1294282" y="69189"/>
                </a:lnTo>
                <a:lnTo>
                  <a:pt x="1120749" y="69189"/>
                </a:lnTo>
                <a:lnTo>
                  <a:pt x="1113866" y="69189"/>
                </a:lnTo>
                <a:lnTo>
                  <a:pt x="1108532" y="74434"/>
                </a:lnTo>
                <a:lnTo>
                  <a:pt x="1108532" y="87998"/>
                </a:lnTo>
                <a:lnTo>
                  <a:pt x="1113866" y="93243"/>
                </a:lnTo>
                <a:lnTo>
                  <a:pt x="1294282" y="93243"/>
                </a:lnTo>
                <a:lnTo>
                  <a:pt x="1299641" y="87998"/>
                </a:lnTo>
                <a:lnTo>
                  <a:pt x="1299641" y="74434"/>
                </a:lnTo>
                <a:close/>
              </a:path>
              <a:path w="1332865" h="658495">
                <a:moveTo>
                  <a:pt x="1332522" y="5270"/>
                </a:moveTo>
                <a:lnTo>
                  <a:pt x="1327162" y="0"/>
                </a:lnTo>
                <a:lnTo>
                  <a:pt x="1288173" y="0"/>
                </a:lnTo>
                <a:lnTo>
                  <a:pt x="1281303" y="0"/>
                </a:lnTo>
                <a:lnTo>
                  <a:pt x="1275943" y="5270"/>
                </a:lnTo>
                <a:lnTo>
                  <a:pt x="1275943" y="18046"/>
                </a:lnTo>
                <a:lnTo>
                  <a:pt x="1281303" y="23317"/>
                </a:lnTo>
                <a:lnTo>
                  <a:pt x="1327162" y="23317"/>
                </a:lnTo>
                <a:lnTo>
                  <a:pt x="1332522" y="18046"/>
                </a:lnTo>
                <a:lnTo>
                  <a:pt x="1332522" y="5270"/>
                </a:lnTo>
                <a:close/>
              </a:path>
            </a:pathLst>
          </a:custGeom>
          <a:solidFill>
            <a:srgbClr val="F1A365"/>
          </a:solidFill>
        </p:spPr>
        <p:txBody>
          <a:bodyPr wrap="square" lIns="0" tIns="0" rIns="0" bIns="0" rtlCol="0"/>
          <a:lstStyle/>
          <a:p>
            <a:endParaRPr/>
          </a:p>
        </p:txBody>
      </p:sp>
      <p:sp>
        <p:nvSpPr>
          <p:cNvPr id="62" name="bg object 62"/>
          <p:cNvSpPr/>
          <p:nvPr/>
        </p:nvSpPr>
        <p:spPr>
          <a:xfrm>
            <a:off x="6510057" y="3887690"/>
            <a:ext cx="132715" cy="23495"/>
          </a:xfrm>
          <a:custGeom>
            <a:avLst/>
            <a:gdLst/>
            <a:ahLst/>
            <a:cxnLst/>
            <a:rect l="l" t="t" r="r" b="b"/>
            <a:pathLst>
              <a:path w="132715" h="23495">
                <a:moveTo>
                  <a:pt x="126904" y="23314"/>
                </a:moveTo>
                <a:lnTo>
                  <a:pt x="5359" y="23314"/>
                </a:lnTo>
                <a:lnTo>
                  <a:pt x="0" y="18044"/>
                </a:lnTo>
                <a:lnTo>
                  <a:pt x="0" y="5246"/>
                </a:lnTo>
                <a:lnTo>
                  <a:pt x="5359" y="0"/>
                </a:lnTo>
                <a:lnTo>
                  <a:pt x="11466" y="0"/>
                </a:lnTo>
                <a:lnTo>
                  <a:pt x="126904" y="0"/>
                </a:lnTo>
                <a:lnTo>
                  <a:pt x="132262" y="5246"/>
                </a:lnTo>
                <a:lnTo>
                  <a:pt x="132262" y="18044"/>
                </a:lnTo>
                <a:lnTo>
                  <a:pt x="126904" y="23314"/>
                </a:lnTo>
                <a:close/>
              </a:path>
            </a:pathLst>
          </a:custGeom>
          <a:solidFill>
            <a:srgbClr val="30475E"/>
          </a:solidFill>
        </p:spPr>
        <p:txBody>
          <a:bodyPr wrap="square" lIns="0" tIns="0" rIns="0" bIns="0" rtlCol="0"/>
          <a:lstStyle/>
          <a:p>
            <a:endParaRPr/>
          </a:p>
        </p:txBody>
      </p:sp>
      <p:sp>
        <p:nvSpPr>
          <p:cNvPr id="63" name="bg object 63"/>
          <p:cNvSpPr/>
          <p:nvPr/>
        </p:nvSpPr>
        <p:spPr>
          <a:xfrm>
            <a:off x="6687413" y="3887690"/>
            <a:ext cx="57150" cy="23495"/>
          </a:xfrm>
          <a:custGeom>
            <a:avLst/>
            <a:gdLst/>
            <a:ahLst/>
            <a:cxnLst/>
            <a:rect l="l" t="t" r="r" b="b"/>
            <a:pathLst>
              <a:path w="57150" h="23495">
                <a:moveTo>
                  <a:pt x="51224" y="23314"/>
                </a:moveTo>
                <a:lnTo>
                  <a:pt x="5359" y="23314"/>
                </a:lnTo>
                <a:lnTo>
                  <a:pt x="0" y="18044"/>
                </a:lnTo>
                <a:lnTo>
                  <a:pt x="0" y="5246"/>
                </a:lnTo>
                <a:lnTo>
                  <a:pt x="5359" y="0"/>
                </a:lnTo>
                <a:lnTo>
                  <a:pt x="12238" y="0"/>
                </a:lnTo>
                <a:lnTo>
                  <a:pt x="51224" y="0"/>
                </a:lnTo>
                <a:lnTo>
                  <a:pt x="56584" y="5246"/>
                </a:lnTo>
                <a:lnTo>
                  <a:pt x="56584" y="18044"/>
                </a:lnTo>
                <a:lnTo>
                  <a:pt x="51224" y="23314"/>
                </a:lnTo>
                <a:close/>
              </a:path>
            </a:pathLst>
          </a:custGeom>
          <a:solidFill>
            <a:srgbClr val="FFFFFF"/>
          </a:solidFill>
        </p:spPr>
        <p:txBody>
          <a:bodyPr wrap="square" lIns="0" tIns="0" rIns="0" bIns="0" rtlCol="0"/>
          <a:lstStyle/>
          <a:p>
            <a:endParaRPr/>
          </a:p>
        </p:txBody>
      </p:sp>
      <p:sp>
        <p:nvSpPr>
          <p:cNvPr id="64" name="bg object 64"/>
          <p:cNvSpPr/>
          <p:nvPr/>
        </p:nvSpPr>
        <p:spPr>
          <a:xfrm>
            <a:off x="6909115" y="3887690"/>
            <a:ext cx="71120" cy="23495"/>
          </a:xfrm>
          <a:custGeom>
            <a:avLst/>
            <a:gdLst/>
            <a:ahLst/>
            <a:cxnLst/>
            <a:rect l="l" t="t" r="r" b="b"/>
            <a:pathLst>
              <a:path w="71120" h="23495">
                <a:moveTo>
                  <a:pt x="65757" y="23314"/>
                </a:moveTo>
                <a:lnTo>
                  <a:pt x="5359" y="23314"/>
                </a:lnTo>
                <a:lnTo>
                  <a:pt x="0" y="18044"/>
                </a:lnTo>
                <a:lnTo>
                  <a:pt x="0" y="5246"/>
                </a:lnTo>
                <a:lnTo>
                  <a:pt x="5359" y="0"/>
                </a:lnTo>
                <a:lnTo>
                  <a:pt x="12239" y="0"/>
                </a:lnTo>
                <a:lnTo>
                  <a:pt x="65757" y="0"/>
                </a:lnTo>
                <a:lnTo>
                  <a:pt x="71116" y="5246"/>
                </a:lnTo>
                <a:lnTo>
                  <a:pt x="71116" y="18044"/>
                </a:lnTo>
                <a:lnTo>
                  <a:pt x="65757" y="23314"/>
                </a:lnTo>
                <a:close/>
              </a:path>
            </a:pathLst>
          </a:custGeom>
          <a:solidFill>
            <a:srgbClr val="30475E"/>
          </a:solidFill>
        </p:spPr>
        <p:txBody>
          <a:bodyPr wrap="square" lIns="0" tIns="0" rIns="0" bIns="0" rtlCol="0"/>
          <a:lstStyle/>
          <a:p>
            <a:endParaRPr/>
          </a:p>
        </p:txBody>
      </p:sp>
      <p:sp>
        <p:nvSpPr>
          <p:cNvPr id="65" name="bg object 65"/>
          <p:cNvSpPr/>
          <p:nvPr/>
        </p:nvSpPr>
        <p:spPr>
          <a:xfrm>
            <a:off x="5473408" y="3242563"/>
            <a:ext cx="235585" cy="24130"/>
          </a:xfrm>
          <a:custGeom>
            <a:avLst/>
            <a:gdLst/>
            <a:ahLst/>
            <a:cxnLst/>
            <a:rect l="l" t="t" r="r" b="b"/>
            <a:pathLst>
              <a:path w="235585" h="24129">
                <a:moveTo>
                  <a:pt x="134556" y="18808"/>
                </a:moveTo>
                <a:lnTo>
                  <a:pt x="133781" y="12039"/>
                </a:lnTo>
                <a:lnTo>
                  <a:pt x="133781" y="5270"/>
                </a:lnTo>
                <a:lnTo>
                  <a:pt x="128422" y="0"/>
                </a:lnTo>
                <a:lnTo>
                  <a:pt x="12217" y="0"/>
                </a:lnTo>
                <a:lnTo>
                  <a:pt x="5334" y="0"/>
                </a:lnTo>
                <a:lnTo>
                  <a:pt x="0" y="6007"/>
                </a:lnTo>
                <a:lnTo>
                  <a:pt x="0" y="18808"/>
                </a:lnTo>
                <a:lnTo>
                  <a:pt x="5334" y="24053"/>
                </a:lnTo>
                <a:lnTo>
                  <a:pt x="128422" y="24053"/>
                </a:lnTo>
                <a:lnTo>
                  <a:pt x="134556" y="18808"/>
                </a:lnTo>
                <a:close/>
              </a:path>
              <a:path w="235585" h="24129">
                <a:moveTo>
                  <a:pt x="235458" y="5270"/>
                </a:moveTo>
                <a:lnTo>
                  <a:pt x="230098" y="0"/>
                </a:lnTo>
                <a:lnTo>
                  <a:pt x="181940" y="0"/>
                </a:lnTo>
                <a:lnTo>
                  <a:pt x="175056" y="0"/>
                </a:lnTo>
                <a:lnTo>
                  <a:pt x="169697" y="6007"/>
                </a:lnTo>
                <a:lnTo>
                  <a:pt x="169697" y="18808"/>
                </a:lnTo>
                <a:lnTo>
                  <a:pt x="175056" y="24053"/>
                </a:lnTo>
                <a:lnTo>
                  <a:pt x="230098" y="24053"/>
                </a:lnTo>
                <a:lnTo>
                  <a:pt x="235458" y="18808"/>
                </a:lnTo>
                <a:lnTo>
                  <a:pt x="235458" y="5270"/>
                </a:lnTo>
                <a:close/>
              </a:path>
            </a:pathLst>
          </a:custGeom>
          <a:solidFill>
            <a:srgbClr val="F1A365"/>
          </a:solidFill>
        </p:spPr>
        <p:txBody>
          <a:bodyPr wrap="square" lIns="0" tIns="0" rIns="0" bIns="0" rtlCol="0"/>
          <a:lstStyle/>
          <a:p>
            <a:endParaRPr/>
          </a:p>
        </p:txBody>
      </p:sp>
      <p:sp>
        <p:nvSpPr>
          <p:cNvPr id="66" name="bg object 66"/>
          <p:cNvSpPr/>
          <p:nvPr/>
        </p:nvSpPr>
        <p:spPr>
          <a:xfrm>
            <a:off x="4570552" y="2954591"/>
            <a:ext cx="474345" cy="706120"/>
          </a:xfrm>
          <a:custGeom>
            <a:avLst/>
            <a:gdLst/>
            <a:ahLst/>
            <a:cxnLst/>
            <a:rect l="l" t="t" r="r" b="b"/>
            <a:pathLst>
              <a:path w="474345" h="706120">
                <a:moveTo>
                  <a:pt x="473964" y="448119"/>
                </a:moveTo>
                <a:lnTo>
                  <a:pt x="472440" y="446620"/>
                </a:lnTo>
                <a:lnTo>
                  <a:pt x="227545" y="205041"/>
                </a:lnTo>
                <a:lnTo>
                  <a:pt x="247421" y="176301"/>
                </a:lnTo>
                <a:lnTo>
                  <a:pt x="257619" y="127076"/>
                </a:lnTo>
                <a:lnTo>
                  <a:pt x="249212" y="86398"/>
                </a:lnTo>
                <a:lnTo>
                  <a:pt x="249212" y="127076"/>
                </a:lnTo>
                <a:lnTo>
                  <a:pt x="239699" y="173228"/>
                </a:lnTo>
                <a:lnTo>
                  <a:pt x="220535" y="201129"/>
                </a:lnTo>
                <a:lnTo>
                  <a:pt x="219405" y="201498"/>
                </a:lnTo>
                <a:lnTo>
                  <a:pt x="217106" y="203758"/>
                </a:lnTo>
                <a:lnTo>
                  <a:pt x="217106" y="206121"/>
                </a:lnTo>
                <a:lnTo>
                  <a:pt x="213753" y="210997"/>
                </a:lnTo>
                <a:lnTo>
                  <a:pt x="175348" y="236499"/>
                </a:lnTo>
                <a:lnTo>
                  <a:pt x="128422" y="245859"/>
                </a:lnTo>
                <a:lnTo>
                  <a:pt x="81483" y="236499"/>
                </a:lnTo>
                <a:lnTo>
                  <a:pt x="43078" y="210997"/>
                </a:lnTo>
                <a:lnTo>
                  <a:pt x="17145" y="173228"/>
                </a:lnTo>
                <a:lnTo>
                  <a:pt x="7620" y="127076"/>
                </a:lnTo>
                <a:lnTo>
                  <a:pt x="17145" y="80467"/>
                </a:lnTo>
                <a:lnTo>
                  <a:pt x="43078" y="42468"/>
                </a:lnTo>
                <a:lnTo>
                  <a:pt x="81483" y="16878"/>
                </a:lnTo>
                <a:lnTo>
                  <a:pt x="128422" y="7505"/>
                </a:lnTo>
                <a:lnTo>
                  <a:pt x="175348" y="16878"/>
                </a:lnTo>
                <a:lnTo>
                  <a:pt x="213753" y="42468"/>
                </a:lnTo>
                <a:lnTo>
                  <a:pt x="239699" y="80467"/>
                </a:lnTo>
                <a:lnTo>
                  <a:pt x="249212" y="127076"/>
                </a:lnTo>
                <a:lnTo>
                  <a:pt x="249212" y="86398"/>
                </a:lnTo>
                <a:lnTo>
                  <a:pt x="247421" y="77724"/>
                </a:lnTo>
                <a:lnTo>
                  <a:pt x="219671" y="37312"/>
                </a:lnTo>
                <a:lnTo>
                  <a:pt x="178600" y="10020"/>
                </a:lnTo>
                <a:lnTo>
                  <a:pt x="165989" y="7505"/>
                </a:lnTo>
                <a:lnTo>
                  <a:pt x="128422" y="0"/>
                </a:lnTo>
                <a:lnTo>
                  <a:pt x="78359" y="10020"/>
                </a:lnTo>
                <a:lnTo>
                  <a:pt x="37553" y="37312"/>
                </a:lnTo>
                <a:lnTo>
                  <a:pt x="10058" y="77724"/>
                </a:lnTo>
                <a:lnTo>
                  <a:pt x="0" y="127076"/>
                </a:lnTo>
                <a:lnTo>
                  <a:pt x="10058" y="176301"/>
                </a:lnTo>
                <a:lnTo>
                  <a:pt x="37553" y="216446"/>
                </a:lnTo>
                <a:lnTo>
                  <a:pt x="78359" y="243484"/>
                </a:lnTo>
                <a:lnTo>
                  <a:pt x="128422" y="253377"/>
                </a:lnTo>
                <a:lnTo>
                  <a:pt x="166560" y="245859"/>
                </a:lnTo>
                <a:lnTo>
                  <a:pt x="178600" y="243484"/>
                </a:lnTo>
                <a:lnTo>
                  <a:pt x="219671" y="216446"/>
                </a:lnTo>
                <a:lnTo>
                  <a:pt x="222605" y="212191"/>
                </a:lnTo>
                <a:lnTo>
                  <a:pt x="465556" y="451129"/>
                </a:lnTo>
                <a:lnTo>
                  <a:pt x="465556" y="703770"/>
                </a:lnTo>
                <a:lnTo>
                  <a:pt x="467855" y="706031"/>
                </a:lnTo>
                <a:lnTo>
                  <a:pt x="471665" y="706031"/>
                </a:lnTo>
                <a:lnTo>
                  <a:pt x="473964" y="703770"/>
                </a:lnTo>
                <a:lnTo>
                  <a:pt x="473964" y="448119"/>
                </a:lnTo>
                <a:close/>
              </a:path>
            </a:pathLst>
          </a:custGeom>
          <a:solidFill>
            <a:srgbClr val="C4C4C4"/>
          </a:solidFill>
        </p:spPr>
        <p:txBody>
          <a:bodyPr wrap="square" lIns="0" tIns="0" rIns="0" bIns="0" rtlCol="0"/>
          <a:lstStyle/>
          <a:p>
            <a:endParaRPr/>
          </a:p>
        </p:txBody>
      </p:sp>
      <p:pic>
        <p:nvPicPr>
          <p:cNvPr id="67" name="bg object 67"/>
          <p:cNvPicPr/>
          <p:nvPr/>
        </p:nvPicPr>
        <p:blipFill>
          <a:blip r:embed="rId21" cstate="print"/>
          <a:stretch>
            <a:fillRect/>
          </a:stretch>
        </p:blipFill>
        <p:spPr>
          <a:xfrm>
            <a:off x="4607807" y="2991791"/>
            <a:ext cx="182341" cy="178970"/>
          </a:xfrm>
          <a:prstGeom prst="rect">
            <a:avLst/>
          </a:prstGeom>
        </p:spPr>
      </p:pic>
      <p:sp>
        <p:nvSpPr>
          <p:cNvPr id="68" name="bg object 68"/>
          <p:cNvSpPr/>
          <p:nvPr/>
        </p:nvSpPr>
        <p:spPr>
          <a:xfrm>
            <a:off x="5446981" y="2830848"/>
            <a:ext cx="10795" cy="318770"/>
          </a:xfrm>
          <a:custGeom>
            <a:avLst/>
            <a:gdLst/>
            <a:ahLst/>
            <a:cxnLst/>
            <a:rect l="l" t="t" r="r" b="b"/>
            <a:pathLst>
              <a:path w="10795" h="318769">
                <a:moveTo>
                  <a:pt x="7536" y="318472"/>
                </a:moveTo>
                <a:lnTo>
                  <a:pt x="2829" y="318472"/>
                </a:lnTo>
                <a:lnTo>
                  <a:pt x="0" y="316755"/>
                </a:lnTo>
                <a:lnTo>
                  <a:pt x="0" y="1716"/>
                </a:lnTo>
                <a:lnTo>
                  <a:pt x="2829" y="0"/>
                </a:lnTo>
                <a:lnTo>
                  <a:pt x="5659" y="0"/>
                </a:lnTo>
                <a:lnTo>
                  <a:pt x="7536" y="0"/>
                </a:lnTo>
                <a:lnTo>
                  <a:pt x="10365" y="1716"/>
                </a:lnTo>
                <a:lnTo>
                  <a:pt x="10365" y="316755"/>
                </a:lnTo>
                <a:lnTo>
                  <a:pt x="7536" y="318472"/>
                </a:lnTo>
                <a:close/>
              </a:path>
            </a:pathLst>
          </a:custGeom>
          <a:solidFill>
            <a:srgbClr val="222831"/>
          </a:solidFill>
        </p:spPr>
        <p:txBody>
          <a:bodyPr wrap="square" lIns="0" tIns="0" rIns="0" bIns="0" rtlCol="0"/>
          <a:lstStyle/>
          <a:p>
            <a:endParaRPr/>
          </a:p>
        </p:txBody>
      </p:sp>
      <p:sp>
        <p:nvSpPr>
          <p:cNvPr id="69" name="bg object 69"/>
          <p:cNvSpPr/>
          <p:nvPr/>
        </p:nvSpPr>
        <p:spPr>
          <a:xfrm>
            <a:off x="4432158" y="3592951"/>
            <a:ext cx="410209" cy="635635"/>
          </a:xfrm>
          <a:custGeom>
            <a:avLst/>
            <a:gdLst/>
            <a:ahLst/>
            <a:cxnLst/>
            <a:rect l="l" t="t" r="r" b="b"/>
            <a:pathLst>
              <a:path w="410210" h="635635">
                <a:moveTo>
                  <a:pt x="408255" y="635349"/>
                </a:moveTo>
                <a:lnTo>
                  <a:pt x="246179" y="635349"/>
                </a:lnTo>
                <a:lnTo>
                  <a:pt x="244658" y="634589"/>
                </a:lnTo>
                <a:lnTo>
                  <a:pt x="243886" y="633829"/>
                </a:lnTo>
                <a:lnTo>
                  <a:pt x="1544" y="394742"/>
                </a:lnTo>
                <a:lnTo>
                  <a:pt x="0" y="393223"/>
                </a:lnTo>
                <a:lnTo>
                  <a:pt x="0" y="1495"/>
                </a:lnTo>
                <a:lnTo>
                  <a:pt x="1544" y="0"/>
                </a:lnTo>
                <a:lnTo>
                  <a:pt x="3837" y="0"/>
                </a:lnTo>
                <a:lnTo>
                  <a:pt x="6131" y="0"/>
                </a:lnTo>
                <a:lnTo>
                  <a:pt x="8424" y="1495"/>
                </a:lnTo>
                <a:lnTo>
                  <a:pt x="8424" y="390231"/>
                </a:lnTo>
                <a:lnTo>
                  <a:pt x="248472" y="627063"/>
                </a:lnTo>
                <a:lnTo>
                  <a:pt x="407483" y="627063"/>
                </a:lnTo>
                <a:lnTo>
                  <a:pt x="409775" y="628582"/>
                </a:lnTo>
                <a:lnTo>
                  <a:pt x="409775" y="633093"/>
                </a:lnTo>
                <a:lnTo>
                  <a:pt x="408255" y="635349"/>
                </a:lnTo>
                <a:close/>
              </a:path>
            </a:pathLst>
          </a:custGeom>
          <a:solidFill>
            <a:srgbClr val="CECECE"/>
          </a:solidFill>
        </p:spPr>
        <p:txBody>
          <a:bodyPr wrap="square" lIns="0" tIns="0" rIns="0" bIns="0" rtlCol="0"/>
          <a:lstStyle/>
          <a:p>
            <a:endParaRPr/>
          </a:p>
        </p:txBody>
      </p:sp>
      <p:sp>
        <p:nvSpPr>
          <p:cNvPr id="70" name="bg object 70"/>
          <p:cNvSpPr/>
          <p:nvPr/>
        </p:nvSpPr>
        <p:spPr>
          <a:xfrm>
            <a:off x="7633870" y="2581639"/>
            <a:ext cx="8890" cy="236854"/>
          </a:xfrm>
          <a:custGeom>
            <a:avLst/>
            <a:gdLst/>
            <a:ahLst/>
            <a:cxnLst/>
            <a:rect l="l" t="t" r="r" b="b"/>
            <a:pathLst>
              <a:path w="8890" h="236855">
                <a:moveTo>
                  <a:pt x="6879" y="236855"/>
                </a:moveTo>
                <a:lnTo>
                  <a:pt x="2292" y="236855"/>
                </a:lnTo>
                <a:lnTo>
                  <a:pt x="0" y="234599"/>
                </a:lnTo>
                <a:lnTo>
                  <a:pt x="0" y="2255"/>
                </a:lnTo>
                <a:lnTo>
                  <a:pt x="2292" y="0"/>
                </a:lnTo>
                <a:lnTo>
                  <a:pt x="4586" y="0"/>
                </a:lnTo>
                <a:lnTo>
                  <a:pt x="6879" y="0"/>
                </a:lnTo>
                <a:lnTo>
                  <a:pt x="8400" y="2255"/>
                </a:lnTo>
                <a:lnTo>
                  <a:pt x="8400" y="234599"/>
                </a:lnTo>
                <a:lnTo>
                  <a:pt x="6879" y="236855"/>
                </a:lnTo>
                <a:close/>
              </a:path>
            </a:pathLst>
          </a:custGeom>
          <a:solidFill>
            <a:srgbClr val="222831"/>
          </a:solidFill>
        </p:spPr>
        <p:txBody>
          <a:bodyPr wrap="square" lIns="0" tIns="0" rIns="0" bIns="0" rtlCol="0"/>
          <a:lstStyle/>
          <a:p>
            <a:endParaRPr/>
          </a:p>
        </p:txBody>
      </p:sp>
      <p:pic>
        <p:nvPicPr>
          <p:cNvPr id="71" name="bg object 71"/>
          <p:cNvPicPr/>
          <p:nvPr/>
        </p:nvPicPr>
        <p:blipFill>
          <a:blip r:embed="rId22" cstate="print"/>
          <a:stretch>
            <a:fillRect/>
          </a:stretch>
        </p:blipFill>
        <p:spPr>
          <a:xfrm>
            <a:off x="5971856" y="2786917"/>
            <a:ext cx="232395" cy="228569"/>
          </a:xfrm>
          <a:prstGeom prst="rect">
            <a:avLst/>
          </a:prstGeom>
        </p:spPr>
      </p:pic>
      <p:sp>
        <p:nvSpPr>
          <p:cNvPr id="72" name="bg object 72"/>
          <p:cNvSpPr/>
          <p:nvPr/>
        </p:nvSpPr>
        <p:spPr>
          <a:xfrm>
            <a:off x="5916044" y="2262096"/>
            <a:ext cx="423545" cy="416559"/>
          </a:xfrm>
          <a:custGeom>
            <a:avLst/>
            <a:gdLst/>
            <a:ahLst/>
            <a:cxnLst/>
            <a:rect l="l" t="t" r="r" b="b"/>
            <a:pathLst>
              <a:path w="423545" h="416560">
                <a:moveTo>
                  <a:pt x="211756" y="416562"/>
                </a:moveTo>
                <a:lnTo>
                  <a:pt x="163443" y="411062"/>
                </a:lnTo>
                <a:lnTo>
                  <a:pt x="118965" y="395394"/>
                </a:lnTo>
                <a:lnTo>
                  <a:pt x="79634" y="370810"/>
                </a:lnTo>
                <a:lnTo>
                  <a:pt x="46761" y="338558"/>
                </a:lnTo>
                <a:lnTo>
                  <a:pt x="21656" y="299888"/>
                </a:lnTo>
                <a:lnTo>
                  <a:pt x="5632" y="256049"/>
                </a:lnTo>
                <a:lnTo>
                  <a:pt x="0" y="208292"/>
                </a:lnTo>
                <a:lnTo>
                  <a:pt x="5632" y="160527"/>
                </a:lnTo>
                <a:lnTo>
                  <a:pt x="21656" y="116682"/>
                </a:lnTo>
                <a:lnTo>
                  <a:pt x="46761" y="78008"/>
                </a:lnTo>
                <a:lnTo>
                  <a:pt x="79634" y="45753"/>
                </a:lnTo>
                <a:lnTo>
                  <a:pt x="118965" y="21167"/>
                </a:lnTo>
                <a:lnTo>
                  <a:pt x="163443" y="5500"/>
                </a:lnTo>
                <a:lnTo>
                  <a:pt x="211756" y="0"/>
                </a:lnTo>
                <a:lnTo>
                  <a:pt x="260321" y="5500"/>
                </a:lnTo>
                <a:lnTo>
                  <a:pt x="304900" y="21167"/>
                </a:lnTo>
                <a:lnTo>
                  <a:pt x="322764" y="32337"/>
                </a:lnTo>
                <a:lnTo>
                  <a:pt x="211756" y="32337"/>
                </a:lnTo>
                <a:lnTo>
                  <a:pt x="164265" y="38634"/>
                </a:lnTo>
                <a:lnTo>
                  <a:pt x="121553" y="56397"/>
                </a:lnTo>
                <a:lnTo>
                  <a:pt x="85338" y="83935"/>
                </a:lnTo>
                <a:lnTo>
                  <a:pt x="57340" y="119558"/>
                </a:lnTo>
                <a:lnTo>
                  <a:pt x="39281" y="161574"/>
                </a:lnTo>
                <a:lnTo>
                  <a:pt x="32878" y="208292"/>
                </a:lnTo>
                <a:lnTo>
                  <a:pt x="39281" y="255001"/>
                </a:lnTo>
                <a:lnTo>
                  <a:pt x="57340" y="297010"/>
                </a:lnTo>
                <a:lnTo>
                  <a:pt x="85338" y="332629"/>
                </a:lnTo>
                <a:lnTo>
                  <a:pt x="121553" y="360165"/>
                </a:lnTo>
                <a:lnTo>
                  <a:pt x="164265" y="377928"/>
                </a:lnTo>
                <a:lnTo>
                  <a:pt x="211756" y="384224"/>
                </a:lnTo>
                <a:lnTo>
                  <a:pt x="322477" y="384224"/>
                </a:lnTo>
                <a:lnTo>
                  <a:pt x="304900" y="395262"/>
                </a:lnTo>
                <a:lnTo>
                  <a:pt x="260321" y="411022"/>
                </a:lnTo>
                <a:lnTo>
                  <a:pt x="211756" y="416562"/>
                </a:lnTo>
                <a:close/>
              </a:path>
              <a:path w="423545" h="416560">
                <a:moveTo>
                  <a:pt x="322477" y="384224"/>
                </a:moveTo>
                <a:lnTo>
                  <a:pt x="211756" y="384224"/>
                </a:lnTo>
                <a:lnTo>
                  <a:pt x="259256" y="377928"/>
                </a:lnTo>
                <a:lnTo>
                  <a:pt x="301976" y="360165"/>
                </a:lnTo>
                <a:lnTo>
                  <a:pt x="338195" y="332629"/>
                </a:lnTo>
                <a:lnTo>
                  <a:pt x="366195" y="297010"/>
                </a:lnTo>
                <a:lnTo>
                  <a:pt x="384255" y="255001"/>
                </a:lnTo>
                <a:lnTo>
                  <a:pt x="390657" y="208292"/>
                </a:lnTo>
                <a:lnTo>
                  <a:pt x="384255" y="161574"/>
                </a:lnTo>
                <a:lnTo>
                  <a:pt x="366195" y="119558"/>
                </a:lnTo>
                <a:lnTo>
                  <a:pt x="338195" y="83935"/>
                </a:lnTo>
                <a:lnTo>
                  <a:pt x="301976" y="56397"/>
                </a:lnTo>
                <a:lnTo>
                  <a:pt x="259256" y="38634"/>
                </a:lnTo>
                <a:lnTo>
                  <a:pt x="211756" y="32337"/>
                </a:lnTo>
                <a:lnTo>
                  <a:pt x="322764" y="32337"/>
                </a:lnTo>
                <a:lnTo>
                  <a:pt x="377016" y="78008"/>
                </a:lnTo>
                <a:lnTo>
                  <a:pt x="402014" y="116682"/>
                </a:lnTo>
                <a:lnTo>
                  <a:pt x="417944" y="160527"/>
                </a:lnTo>
                <a:lnTo>
                  <a:pt x="423536" y="208292"/>
                </a:lnTo>
                <a:lnTo>
                  <a:pt x="417944" y="255810"/>
                </a:lnTo>
                <a:lnTo>
                  <a:pt x="402014" y="299556"/>
                </a:lnTo>
                <a:lnTo>
                  <a:pt x="377016" y="338239"/>
                </a:lnTo>
                <a:lnTo>
                  <a:pt x="344222" y="370571"/>
                </a:lnTo>
                <a:lnTo>
                  <a:pt x="322477" y="384224"/>
                </a:lnTo>
                <a:close/>
              </a:path>
            </a:pathLst>
          </a:custGeom>
          <a:solidFill>
            <a:srgbClr val="00ABEE"/>
          </a:solidFill>
        </p:spPr>
        <p:txBody>
          <a:bodyPr wrap="square" lIns="0" tIns="0" rIns="0" bIns="0" rtlCol="0"/>
          <a:lstStyle/>
          <a:p>
            <a:endParaRPr/>
          </a:p>
        </p:txBody>
      </p:sp>
      <p:pic>
        <p:nvPicPr>
          <p:cNvPr id="73" name="bg object 73"/>
          <p:cNvPicPr/>
          <p:nvPr/>
        </p:nvPicPr>
        <p:blipFill>
          <a:blip r:embed="rId23" cstate="print"/>
          <a:stretch>
            <a:fillRect/>
          </a:stretch>
        </p:blipFill>
        <p:spPr>
          <a:xfrm>
            <a:off x="5095743" y="3077881"/>
            <a:ext cx="166662" cy="163918"/>
          </a:xfrm>
          <a:prstGeom prst="rect">
            <a:avLst/>
          </a:prstGeom>
        </p:spPr>
      </p:pic>
      <p:pic>
        <p:nvPicPr>
          <p:cNvPr id="74" name="bg object 74"/>
          <p:cNvPicPr/>
          <p:nvPr/>
        </p:nvPicPr>
        <p:blipFill>
          <a:blip r:embed="rId24" cstate="print"/>
          <a:stretch>
            <a:fillRect/>
          </a:stretch>
        </p:blipFill>
        <p:spPr>
          <a:xfrm>
            <a:off x="6767703" y="2244044"/>
            <a:ext cx="246155" cy="242102"/>
          </a:xfrm>
          <a:prstGeom prst="rect">
            <a:avLst/>
          </a:prstGeom>
        </p:spPr>
      </p:pic>
      <p:pic>
        <p:nvPicPr>
          <p:cNvPr id="75" name="bg object 75"/>
          <p:cNvPicPr/>
          <p:nvPr/>
        </p:nvPicPr>
        <p:blipFill>
          <a:blip r:embed="rId25" cstate="print"/>
          <a:stretch>
            <a:fillRect/>
          </a:stretch>
        </p:blipFill>
        <p:spPr>
          <a:xfrm>
            <a:off x="7894559" y="1752778"/>
            <a:ext cx="246155" cy="242125"/>
          </a:xfrm>
          <a:prstGeom prst="rect">
            <a:avLst/>
          </a:prstGeom>
        </p:spPr>
      </p:pic>
      <p:sp>
        <p:nvSpPr>
          <p:cNvPr id="76" name="bg object 76"/>
          <p:cNvSpPr/>
          <p:nvPr/>
        </p:nvSpPr>
        <p:spPr>
          <a:xfrm>
            <a:off x="8302018" y="3601213"/>
            <a:ext cx="381000" cy="374650"/>
          </a:xfrm>
          <a:custGeom>
            <a:avLst/>
            <a:gdLst/>
            <a:ahLst/>
            <a:cxnLst/>
            <a:rect l="l" t="t" r="r" b="b"/>
            <a:pathLst>
              <a:path w="381000" h="374650">
                <a:moveTo>
                  <a:pt x="190367" y="374442"/>
                </a:moveTo>
                <a:lnTo>
                  <a:pt x="139897" y="367780"/>
                </a:lnTo>
                <a:lnTo>
                  <a:pt x="94460" y="348963"/>
                </a:lnTo>
                <a:lnTo>
                  <a:pt x="55905" y="319746"/>
                </a:lnTo>
                <a:lnTo>
                  <a:pt x="26078" y="281882"/>
                </a:lnTo>
                <a:lnTo>
                  <a:pt x="6827" y="237126"/>
                </a:lnTo>
                <a:lnTo>
                  <a:pt x="0" y="187233"/>
                </a:lnTo>
                <a:lnTo>
                  <a:pt x="6827" y="137593"/>
                </a:lnTo>
                <a:lnTo>
                  <a:pt x="26078" y="92905"/>
                </a:lnTo>
                <a:lnTo>
                  <a:pt x="55905" y="54984"/>
                </a:lnTo>
                <a:lnTo>
                  <a:pt x="94460" y="25648"/>
                </a:lnTo>
                <a:lnTo>
                  <a:pt x="139897" y="6715"/>
                </a:lnTo>
                <a:lnTo>
                  <a:pt x="190367" y="0"/>
                </a:lnTo>
                <a:lnTo>
                  <a:pt x="240838" y="6715"/>
                </a:lnTo>
                <a:lnTo>
                  <a:pt x="282441" y="24051"/>
                </a:lnTo>
                <a:lnTo>
                  <a:pt x="190367" y="24051"/>
                </a:lnTo>
                <a:lnTo>
                  <a:pt x="146228" y="29924"/>
                </a:lnTo>
                <a:lnTo>
                  <a:pt x="106589" y="46471"/>
                </a:lnTo>
                <a:lnTo>
                  <a:pt x="73023" y="72085"/>
                </a:lnTo>
                <a:lnTo>
                  <a:pt x="47101" y="105155"/>
                </a:lnTo>
                <a:lnTo>
                  <a:pt x="30395" y="144074"/>
                </a:lnTo>
                <a:lnTo>
                  <a:pt x="24477" y="187233"/>
                </a:lnTo>
                <a:lnTo>
                  <a:pt x="30395" y="230700"/>
                </a:lnTo>
                <a:lnTo>
                  <a:pt x="47101" y="269822"/>
                </a:lnTo>
                <a:lnTo>
                  <a:pt x="73023" y="303013"/>
                </a:lnTo>
                <a:lnTo>
                  <a:pt x="106589" y="328685"/>
                </a:lnTo>
                <a:lnTo>
                  <a:pt x="146228" y="345252"/>
                </a:lnTo>
                <a:lnTo>
                  <a:pt x="190367" y="351127"/>
                </a:lnTo>
                <a:lnTo>
                  <a:pt x="281374" y="351127"/>
                </a:lnTo>
                <a:lnTo>
                  <a:pt x="241098" y="367780"/>
                </a:lnTo>
                <a:lnTo>
                  <a:pt x="190367" y="374442"/>
                </a:lnTo>
                <a:close/>
              </a:path>
              <a:path w="381000" h="374650">
                <a:moveTo>
                  <a:pt x="281374" y="351127"/>
                </a:moveTo>
                <a:lnTo>
                  <a:pt x="190367" y="351127"/>
                </a:lnTo>
                <a:lnTo>
                  <a:pt x="234564" y="345252"/>
                </a:lnTo>
                <a:lnTo>
                  <a:pt x="274346" y="328685"/>
                </a:lnTo>
                <a:lnTo>
                  <a:pt x="308098" y="303013"/>
                </a:lnTo>
                <a:lnTo>
                  <a:pt x="334206" y="269822"/>
                </a:lnTo>
                <a:lnTo>
                  <a:pt x="351055" y="230700"/>
                </a:lnTo>
                <a:lnTo>
                  <a:pt x="357030" y="187233"/>
                </a:lnTo>
                <a:lnTo>
                  <a:pt x="351055" y="144074"/>
                </a:lnTo>
                <a:lnTo>
                  <a:pt x="334206" y="105155"/>
                </a:lnTo>
                <a:lnTo>
                  <a:pt x="308098" y="72085"/>
                </a:lnTo>
                <a:lnTo>
                  <a:pt x="274346" y="46471"/>
                </a:lnTo>
                <a:lnTo>
                  <a:pt x="234564" y="29924"/>
                </a:lnTo>
                <a:lnTo>
                  <a:pt x="190367" y="24051"/>
                </a:lnTo>
                <a:lnTo>
                  <a:pt x="282441" y="24051"/>
                </a:lnTo>
                <a:lnTo>
                  <a:pt x="324830" y="54984"/>
                </a:lnTo>
                <a:lnTo>
                  <a:pt x="354657" y="92905"/>
                </a:lnTo>
                <a:lnTo>
                  <a:pt x="373908" y="137593"/>
                </a:lnTo>
                <a:lnTo>
                  <a:pt x="380735" y="187233"/>
                </a:lnTo>
                <a:lnTo>
                  <a:pt x="373960" y="237126"/>
                </a:lnTo>
                <a:lnTo>
                  <a:pt x="354823" y="281882"/>
                </a:lnTo>
                <a:lnTo>
                  <a:pt x="325111" y="319746"/>
                </a:lnTo>
                <a:lnTo>
                  <a:pt x="286607" y="348963"/>
                </a:lnTo>
                <a:lnTo>
                  <a:pt x="281374" y="351127"/>
                </a:lnTo>
                <a:close/>
              </a:path>
            </a:pathLst>
          </a:custGeom>
          <a:solidFill>
            <a:srgbClr val="222831"/>
          </a:solidFill>
        </p:spPr>
        <p:txBody>
          <a:bodyPr wrap="square" lIns="0" tIns="0" rIns="0" bIns="0" rtlCol="0"/>
          <a:lstStyle/>
          <a:p>
            <a:endParaRPr/>
          </a:p>
        </p:txBody>
      </p:sp>
      <p:pic>
        <p:nvPicPr>
          <p:cNvPr id="77" name="bg object 77"/>
          <p:cNvPicPr/>
          <p:nvPr/>
        </p:nvPicPr>
        <p:blipFill>
          <a:blip r:embed="rId26" cstate="print"/>
          <a:stretch>
            <a:fillRect/>
          </a:stretch>
        </p:blipFill>
        <p:spPr>
          <a:xfrm>
            <a:off x="8341776" y="2501176"/>
            <a:ext cx="172021" cy="169188"/>
          </a:xfrm>
          <a:prstGeom prst="rect">
            <a:avLst/>
          </a:prstGeom>
        </p:spPr>
      </p:pic>
      <p:pic>
        <p:nvPicPr>
          <p:cNvPr id="78" name="bg object 78"/>
          <p:cNvPicPr/>
          <p:nvPr/>
        </p:nvPicPr>
        <p:blipFill>
          <a:blip r:embed="rId27" cstate="print"/>
          <a:stretch>
            <a:fillRect/>
          </a:stretch>
        </p:blipFill>
        <p:spPr>
          <a:xfrm>
            <a:off x="6474885" y="2568865"/>
            <a:ext cx="88690" cy="86446"/>
          </a:xfrm>
          <a:prstGeom prst="rect">
            <a:avLst/>
          </a:prstGeom>
        </p:spPr>
      </p:pic>
      <p:pic>
        <p:nvPicPr>
          <p:cNvPr id="79" name="bg object 79"/>
          <p:cNvPicPr/>
          <p:nvPr/>
        </p:nvPicPr>
        <p:blipFill>
          <a:blip r:embed="rId28" cstate="print"/>
          <a:stretch>
            <a:fillRect/>
          </a:stretch>
        </p:blipFill>
        <p:spPr>
          <a:xfrm>
            <a:off x="5558535" y="2440276"/>
            <a:ext cx="147543" cy="145873"/>
          </a:xfrm>
          <a:prstGeom prst="rect">
            <a:avLst/>
          </a:prstGeom>
        </p:spPr>
      </p:pic>
      <p:pic>
        <p:nvPicPr>
          <p:cNvPr id="80" name="bg object 80"/>
          <p:cNvPicPr/>
          <p:nvPr/>
        </p:nvPicPr>
        <p:blipFill>
          <a:blip r:embed="rId29" cstate="print"/>
          <a:stretch>
            <a:fillRect/>
          </a:stretch>
        </p:blipFill>
        <p:spPr>
          <a:xfrm>
            <a:off x="6533763" y="1797400"/>
            <a:ext cx="147543" cy="145114"/>
          </a:xfrm>
          <a:prstGeom prst="rect">
            <a:avLst/>
          </a:prstGeom>
        </p:spPr>
      </p:pic>
      <p:pic>
        <p:nvPicPr>
          <p:cNvPr id="81" name="bg object 81"/>
          <p:cNvPicPr/>
          <p:nvPr/>
        </p:nvPicPr>
        <p:blipFill>
          <a:blip r:embed="rId30" cstate="print"/>
          <a:stretch>
            <a:fillRect/>
          </a:stretch>
        </p:blipFill>
        <p:spPr>
          <a:xfrm>
            <a:off x="4512448" y="4321536"/>
            <a:ext cx="191116" cy="187209"/>
          </a:xfrm>
          <a:prstGeom prst="rect">
            <a:avLst/>
          </a:prstGeom>
        </p:spPr>
      </p:pic>
      <p:sp>
        <p:nvSpPr>
          <p:cNvPr id="82" name="bg object 82"/>
          <p:cNvSpPr/>
          <p:nvPr/>
        </p:nvSpPr>
        <p:spPr>
          <a:xfrm>
            <a:off x="548580" y="586854"/>
            <a:ext cx="3171825" cy="468630"/>
          </a:xfrm>
          <a:custGeom>
            <a:avLst/>
            <a:gdLst/>
            <a:ahLst/>
            <a:cxnLst/>
            <a:rect l="l" t="t" r="r" b="b"/>
            <a:pathLst>
              <a:path w="3171825" h="468630">
                <a:moveTo>
                  <a:pt x="289173" y="129182"/>
                </a:moveTo>
                <a:lnTo>
                  <a:pt x="0" y="129182"/>
                </a:lnTo>
                <a:lnTo>
                  <a:pt x="0" y="63549"/>
                </a:lnTo>
                <a:lnTo>
                  <a:pt x="298400" y="63549"/>
                </a:lnTo>
                <a:lnTo>
                  <a:pt x="289173" y="129182"/>
                </a:lnTo>
                <a:close/>
              </a:path>
              <a:path w="3171825" h="468630">
                <a:moveTo>
                  <a:pt x="189160" y="458985"/>
                </a:moveTo>
                <a:lnTo>
                  <a:pt x="105221" y="458985"/>
                </a:lnTo>
                <a:lnTo>
                  <a:pt x="105221" y="129182"/>
                </a:lnTo>
                <a:lnTo>
                  <a:pt x="189160" y="129182"/>
                </a:lnTo>
                <a:lnTo>
                  <a:pt x="189160" y="458985"/>
                </a:lnTo>
                <a:close/>
              </a:path>
              <a:path w="3171825" h="468630">
                <a:moveTo>
                  <a:pt x="451002" y="458985"/>
                </a:moveTo>
                <a:lnTo>
                  <a:pt x="353222" y="458985"/>
                </a:lnTo>
                <a:lnTo>
                  <a:pt x="286993" y="156120"/>
                </a:lnTo>
                <a:lnTo>
                  <a:pt x="368700" y="156120"/>
                </a:lnTo>
                <a:lnTo>
                  <a:pt x="405758" y="399008"/>
                </a:lnTo>
                <a:lnTo>
                  <a:pt x="462316" y="399008"/>
                </a:lnTo>
                <a:lnTo>
                  <a:pt x="451002" y="458985"/>
                </a:lnTo>
                <a:close/>
              </a:path>
              <a:path w="3171825" h="468630">
                <a:moveTo>
                  <a:pt x="462316" y="399008"/>
                </a:moveTo>
                <a:lnTo>
                  <a:pt x="405758" y="399008"/>
                </a:lnTo>
                <a:lnTo>
                  <a:pt x="456062" y="156120"/>
                </a:lnTo>
                <a:lnTo>
                  <a:pt x="537322" y="156120"/>
                </a:lnTo>
                <a:lnTo>
                  <a:pt x="550779" y="228600"/>
                </a:lnTo>
                <a:lnTo>
                  <a:pt x="494460" y="228600"/>
                </a:lnTo>
                <a:lnTo>
                  <a:pt x="462316" y="399008"/>
                </a:lnTo>
                <a:close/>
              </a:path>
              <a:path w="3171825" h="468630">
                <a:moveTo>
                  <a:pt x="649531" y="399008"/>
                </a:moveTo>
                <a:lnTo>
                  <a:pt x="582417" y="399008"/>
                </a:lnTo>
                <a:lnTo>
                  <a:pt x="623494" y="156120"/>
                </a:lnTo>
                <a:lnTo>
                  <a:pt x="701331" y="156120"/>
                </a:lnTo>
                <a:lnTo>
                  <a:pt x="649531" y="399008"/>
                </a:lnTo>
                <a:close/>
              </a:path>
              <a:path w="3171825" h="468630">
                <a:moveTo>
                  <a:pt x="636739" y="458985"/>
                </a:moveTo>
                <a:lnTo>
                  <a:pt x="537769" y="458985"/>
                </a:lnTo>
                <a:lnTo>
                  <a:pt x="494460" y="228600"/>
                </a:lnTo>
                <a:lnTo>
                  <a:pt x="550779" y="228600"/>
                </a:lnTo>
                <a:lnTo>
                  <a:pt x="582417" y="399008"/>
                </a:lnTo>
                <a:lnTo>
                  <a:pt x="649531" y="399008"/>
                </a:lnTo>
                <a:lnTo>
                  <a:pt x="636739" y="458985"/>
                </a:lnTo>
                <a:close/>
              </a:path>
              <a:path w="3171825" h="468630">
                <a:moveTo>
                  <a:pt x="827007" y="458985"/>
                </a:moveTo>
                <a:lnTo>
                  <a:pt x="745896" y="458985"/>
                </a:lnTo>
                <a:lnTo>
                  <a:pt x="745896" y="156120"/>
                </a:lnTo>
                <a:lnTo>
                  <a:pt x="827007" y="156120"/>
                </a:lnTo>
                <a:lnTo>
                  <a:pt x="827007" y="458985"/>
                </a:lnTo>
                <a:close/>
              </a:path>
              <a:path w="3171825" h="468630">
                <a:moveTo>
                  <a:pt x="785930" y="94952"/>
                </a:moveTo>
                <a:lnTo>
                  <a:pt x="744370" y="74348"/>
                </a:lnTo>
                <a:lnTo>
                  <a:pt x="736668" y="47476"/>
                </a:lnTo>
                <a:lnTo>
                  <a:pt x="737524" y="37653"/>
                </a:lnTo>
                <a:lnTo>
                  <a:pt x="766173" y="3385"/>
                </a:lnTo>
                <a:lnTo>
                  <a:pt x="785930" y="0"/>
                </a:lnTo>
                <a:lnTo>
                  <a:pt x="796311" y="846"/>
                </a:lnTo>
                <a:lnTo>
                  <a:pt x="832141" y="28723"/>
                </a:lnTo>
                <a:lnTo>
                  <a:pt x="835639" y="47476"/>
                </a:lnTo>
                <a:lnTo>
                  <a:pt x="834765" y="57308"/>
                </a:lnTo>
                <a:lnTo>
                  <a:pt x="805725" y="91603"/>
                </a:lnTo>
                <a:lnTo>
                  <a:pt x="785930" y="94952"/>
                </a:lnTo>
                <a:close/>
              </a:path>
              <a:path w="3171825" h="468630">
                <a:moveTo>
                  <a:pt x="995611" y="156120"/>
                </a:moveTo>
                <a:lnTo>
                  <a:pt x="914500" y="156120"/>
                </a:lnTo>
                <a:lnTo>
                  <a:pt x="914500" y="89743"/>
                </a:lnTo>
                <a:lnTo>
                  <a:pt x="995611" y="80069"/>
                </a:lnTo>
                <a:lnTo>
                  <a:pt x="995611" y="156120"/>
                </a:lnTo>
                <a:close/>
              </a:path>
              <a:path w="3171825" h="468630">
                <a:moveTo>
                  <a:pt x="1212781" y="156120"/>
                </a:moveTo>
                <a:lnTo>
                  <a:pt x="1131670" y="156120"/>
                </a:lnTo>
                <a:lnTo>
                  <a:pt x="1131670" y="89743"/>
                </a:lnTo>
                <a:lnTo>
                  <a:pt x="1212781" y="80069"/>
                </a:lnTo>
                <a:lnTo>
                  <a:pt x="1212781" y="156120"/>
                </a:lnTo>
                <a:close/>
              </a:path>
              <a:path w="3171825" h="468630">
                <a:moveTo>
                  <a:pt x="1057375" y="213270"/>
                </a:moveTo>
                <a:lnTo>
                  <a:pt x="869256" y="213270"/>
                </a:lnTo>
                <a:lnTo>
                  <a:pt x="869256" y="156120"/>
                </a:lnTo>
                <a:lnTo>
                  <a:pt x="1065263" y="156120"/>
                </a:lnTo>
                <a:lnTo>
                  <a:pt x="1057375" y="213270"/>
                </a:lnTo>
                <a:close/>
              </a:path>
              <a:path w="3171825" h="468630">
                <a:moveTo>
                  <a:pt x="1274545" y="213270"/>
                </a:moveTo>
                <a:lnTo>
                  <a:pt x="1086426" y="213270"/>
                </a:lnTo>
                <a:lnTo>
                  <a:pt x="1086426" y="156120"/>
                </a:lnTo>
                <a:lnTo>
                  <a:pt x="1282432" y="156120"/>
                </a:lnTo>
                <a:lnTo>
                  <a:pt x="1274545" y="213270"/>
                </a:lnTo>
                <a:close/>
              </a:path>
              <a:path w="3171825" h="468630">
                <a:moveTo>
                  <a:pt x="1009303" y="468064"/>
                </a:moveTo>
                <a:lnTo>
                  <a:pt x="968152" y="461143"/>
                </a:lnTo>
                <a:lnTo>
                  <a:pt x="927978" y="426578"/>
                </a:lnTo>
                <a:lnTo>
                  <a:pt x="915997" y="388032"/>
                </a:lnTo>
                <a:lnTo>
                  <a:pt x="914500" y="364182"/>
                </a:lnTo>
                <a:lnTo>
                  <a:pt x="914500" y="213270"/>
                </a:lnTo>
                <a:lnTo>
                  <a:pt x="995611" y="213270"/>
                </a:lnTo>
                <a:lnTo>
                  <a:pt x="995693" y="364182"/>
                </a:lnTo>
                <a:lnTo>
                  <a:pt x="996076" y="372516"/>
                </a:lnTo>
                <a:lnTo>
                  <a:pt x="1015653" y="403621"/>
                </a:lnTo>
                <a:lnTo>
                  <a:pt x="1065863" y="403621"/>
                </a:lnTo>
                <a:lnTo>
                  <a:pt x="1088182" y="444698"/>
                </a:lnTo>
                <a:lnTo>
                  <a:pt x="1050678" y="462111"/>
                </a:lnTo>
                <a:lnTo>
                  <a:pt x="1019591" y="467692"/>
                </a:lnTo>
                <a:lnTo>
                  <a:pt x="1009303" y="468064"/>
                </a:lnTo>
                <a:close/>
              </a:path>
              <a:path w="3171825" h="468630">
                <a:moveTo>
                  <a:pt x="1226473" y="468064"/>
                </a:moveTo>
                <a:lnTo>
                  <a:pt x="1185322" y="461143"/>
                </a:lnTo>
                <a:lnTo>
                  <a:pt x="1145148" y="426578"/>
                </a:lnTo>
                <a:lnTo>
                  <a:pt x="1133167" y="388032"/>
                </a:lnTo>
                <a:lnTo>
                  <a:pt x="1131670" y="364182"/>
                </a:lnTo>
                <a:lnTo>
                  <a:pt x="1131670" y="213270"/>
                </a:lnTo>
                <a:lnTo>
                  <a:pt x="1212781" y="213270"/>
                </a:lnTo>
                <a:lnTo>
                  <a:pt x="1212863" y="364182"/>
                </a:lnTo>
                <a:lnTo>
                  <a:pt x="1213246" y="372516"/>
                </a:lnTo>
                <a:lnTo>
                  <a:pt x="1232823" y="403621"/>
                </a:lnTo>
                <a:lnTo>
                  <a:pt x="1283033" y="403621"/>
                </a:lnTo>
                <a:lnTo>
                  <a:pt x="1305352" y="444698"/>
                </a:lnTo>
                <a:lnTo>
                  <a:pt x="1267847" y="462111"/>
                </a:lnTo>
                <a:lnTo>
                  <a:pt x="1236761" y="467692"/>
                </a:lnTo>
                <a:lnTo>
                  <a:pt x="1226473" y="468064"/>
                </a:lnTo>
                <a:close/>
              </a:path>
              <a:path w="3171825" h="468630">
                <a:moveTo>
                  <a:pt x="1065863" y="403621"/>
                </a:moveTo>
                <a:lnTo>
                  <a:pt x="1025972" y="403621"/>
                </a:lnTo>
                <a:lnTo>
                  <a:pt x="1033860" y="402970"/>
                </a:lnTo>
                <a:lnTo>
                  <a:pt x="1042194" y="401017"/>
                </a:lnTo>
                <a:lnTo>
                  <a:pt x="1050975" y="397761"/>
                </a:lnTo>
                <a:lnTo>
                  <a:pt x="1060203" y="393203"/>
                </a:lnTo>
                <a:lnTo>
                  <a:pt x="1065863" y="403621"/>
                </a:lnTo>
                <a:close/>
              </a:path>
              <a:path w="3171825" h="468630">
                <a:moveTo>
                  <a:pt x="1283033" y="403621"/>
                </a:moveTo>
                <a:lnTo>
                  <a:pt x="1243142" y="403621"/>
                </a:lnTo>
                <a:lnTo>
                  <a:pt x="1251030" y="402970"/>
                </a:lnTo>
                <a:lnTo>
                  <a:pt x="1259364" y="401017"/>
                </a:lnTo>
                <a:lnTo>
                  <a:pt x="1268145" y="397761"/>
                </a:lnTo>
                <a:lnTo>
                  <a:pt x="1277372" y="393203"/>
                </a:lnTo>
                <a:lnTo>
                  <a:pt x="1283033" y="403621"/>
                </a:lnTo>
                <a:close/>
              </a:path>
              <a:path w="3171825" h="468630">
                <a:moveTo>
                  <a:pt x="1461312" y="468064"/>
                </a:moveTo>
                <a:lnTo>
                  <a:pt x="1398171" y="457348"/>
                </a:lnTo>
                <a:lnTo>
                  <a:pt x="1351625" y="425201"/>
                </a:lnTo>
                <a:lnTo>
                  <a:pt x="1322939" y="374786"/>
                </a:lnTo>
                <a:lnTo>
                  <a:pt x="1313377" y="309264"/>
                </a:lnTo>
                <a:lnTo>
                  <a:pt x="1314390" y="286717"/>
                </a:lnTo>
                <a:lnTo>
                  <a:pt x="1322502" y="245194"/>
                </a:lnTo>
                <a:lnTo>
                  <a:pt x="1338705" y="208750"/>
                </a:lnTo>
                <a:lnTo>
                  <a:pt x="1377075" y="168175"/>
                </a:lnTo>
                <a:lnTo>
                  <a:pt x="1430346" y="148223"/>
                </a:lnTo>
                <a:lnTo>
                  <a:pt x="1451043" y="146893"/>
                </a:lnTo>
                <a:lnTo>
                  <a:pt x="1481552" y="149432"/>
                </a:lnTo>
                <a:lnTo>
                  <a:pt x="1508490" y="157050"/>
                </a:lnTo>
                <a:lnTo>
                  <a:pt x="1531856" y="169747"/>
                </a:lnTo>
                <a:lnTo>
                  <a:pt x="1551650" y="187523"/>
                </a:lnTo>
                <a:lnTo>
                  <a:pt x="1562164" y="202406"/>
                </a:lnTo>
                <a:lnTo>
                  <a:pt x="1452828" y="202406"/>
                </a:lnTo>
                <a:lnTo>
                  <a:pt x="1440950" y="203568"/>
                </a:lnTo>
                <a:lnTo>
                  <a:pt x="1407389" y="231697"/>
                </a:lnTo>
                <a:lnTo>
                  <a:pt x="1396869" y="281285"/>
                </a:lnTo>
                <a:lnTo>
                  <a:pt x="1586395" y="281285"/>
                </a:lnTo>
                <a:lnTo>
                  <a:pt x="1587667" y="300632"/>
                </a:lnTo>
                <a:lnTo>
                  <a:pt x="1587564" y="304781"/>
                </a:lnTo>
                <a:lnTo>
                  <a:pt x="1587257" y="311422"/>
                </a:lnTo>
                <a:lnTo>
                  <a:pt x="1586746" y="320557"/>
                </a:lnTo>
                <a:lnTo>
                  <a:pt x="1586030" y="332184"/>
                </a:lnTo>
                <a:lnTo>
                  <a:pt x="1396869" y="332184"/>
                </a:lnTo>
                <a:lnTo>
                  <a:pt x="1399706" y="351225"/>
                </a:lnTo>
                <a:lnTo>
                  <a:pt x="1419044" y="390376"/>
                </a:lnTo>
                <a:lnTo>
                  <a:pt x="1453870" y="406421"/>
                </a:lnTo>
                <a:lnTo>
                  <a:pt x="1468753" y="407491"/>
                </a:lnTo>
                <a:lnTo>
                  <a:pt x="1561855" y="407491"/>
                </a:lnTo>
                <a:lnTo>
                  <a:pt x="1576207" y="426987"/>
                </a:lnTo>
                <a:lnTo>
                  <a:pt x="1549995" y="444958"/>
                </a:lnTo>
                <a:lnTo>
                  <a:pt x="1522108" y="457795"/>
                </a:lnTo>
                <a:lnTo>
                  <a:pt x="1492547" y="465497"/>
                </a:lnTo>
                <a:lnTo>
                  <a:pt x="1461312" y="468064"/>
                </a:lnTo>
                <a:close/>
              </a:path>
              <a:path w="3171825" h="468630">
                <a:moveTo>
                  <a:pt x="1586395" y="281285"/>
                </a:moveTo>
                <a:lnTo>
                  <a:pt x="1507151" y="281285"/>
                </a:lnTo>
                <a:lnTo>
                  <a:pt x="1507151" y="277862"/>
                </a:lnTo>
                <a:lnTo>
                  <a:pt x="1503756" y="244850"/>
                </a:lnTo>
                <a:lnTo>
                  <a:pt x="1493570" y="221270"/>
                </a:lnTo>
                <a:lnTo>
                  <a:pt x="1476594" y="207122"/>
                </a:lnTo>
                <a:lnTo>
                  <a:pt x="1452828" y="202406"/>
                </a:lnTo>
                <a:lnTo>
                  <a:pt x="1562164" y="202406"/>
                </a:lnTo>
                <a:lnTo>
                  <a:pt x="1567408" y="209829"/>
                </a:lnTo>
                <a:lnTo>
                  <a:pt x="1578663" y="236115"/>
                </a:lnTo>
                <a:lnTo>
                  <a:pt x="1585416" y="266383"/>
                </a:lnTo>
                <a:lnTo>
                  <a:pt x="1586395" y="281285"/>
                </a:lnTo>
                <a:close/>
              </a:path>
              <a:path w="3171825" h="468630">
                <a:moveTo>
                  <a:pt x="1561855" y="407491"/>
                </a:moveTo>
                <a:lnTo>
                  <a:pt x="1468753" y="407491"/>
                </a:lnTo>
                <a:lnTo>
                  <a:pt x="1478352" y="407100"/>
                </a:lnTo>
                <a:lnTo>
                  <a:pt x="1487654" y="405928"/>
                </a:lnTo>
                <a:lnTo>
                  <a:pt x="1532712" y="387678"/>
                </a:lnTo>
                <a:lnTo>
                  <a:pt x="1542572" y="381297"/>
                </a:lnTo>
                <a:lnTo>
                  <a:pt x="1561855" y="407491"/>
                </a:lnTo>
                <a:close/>
              </a:path>
              <a:path w="3171825" h="468630">
                <a:moveTo>
                  <a:pt x="1822373" y="214907"/>
                </a:moveTo>
                <a:lnTo>
                  <a:pt x="1724267" y="214907"/>
                </a:lnTo>
                <a:lnTo>
                  <a:pt x="1730322" y="199801"/>
                </a:lnTo>
                <a:lnTo>
                  <a:pt x="1755967" y="165199"/>
                </a:lnTo>
                <a:lnTo>
                  <a:pt x="1790319" y="148595"/>
                </a:lnTo>
                <a:lnTo>
                  <a:pt x="1803146" y="147488"/>
                </a:lnTo>
                <a:lnTo>
                  <a:pt x="1810169" y="147777"/>
                </a:lnTo>
                <a:lnTo>
                  <a:pt x="1817545" y="148642"/>
                </a:lnTo>
                <a:lnTo>
                  <a:pt x="1825275" y="150083"/>
                </a:lnTo>
                <a:lnTo>
                  <a:pt x="1833358" y="152102"/>
                </a:lnTo>
                <a:lnTo>
                  <a:pt x="1822373" y="214907"/>
                </a:lnTo>
                <a:close/>
              </a:path>
              <a:path w="3171825" h="468630">
                <a:moveTo>
                  <a:pt x="1727690" y="458985"/>
                </a:moveTo>
                <a:lnTo>
                  <a:pt x="1646579" y="458985"/>
                </a:lnTo>
                <a:lnTo>
                  <a:pt x="1646579" y="156120"/>
                </a:lnTo>
                <a:lnTo>
                  <a:pt x="1716825" y="156120"/>
                </a:lnTo>
                <a:lnTo>
                  <a:pt x="1724267" y="214907"/>
                </a:lnTo>
                <a:lnTo>
                  <a:pt x="1822373" y="214907"/>
                </a:lnTo>
                <a:lnTo>
                  <a:pt x="1820368" y="226367"/>
                </a:lnTo>
                <a:lnTo>
                  <a:pt x="1792877" y="226367"/>
                </a:lnTo>
                <a:lnTo>
                  <a:pt x="1780161" y="227548"/>
                </a:lnTo>
                <a:lnTo>
                  <a:pt x="1744070" y="255928"/>
                </a:lnTo>
                <a:lnTo>
                  <a:pt x="1727690" y="302418"/>
                </a:lnTo>
                <a:lnTo>
                  <a:pt x="1727690" y="458985"/>
                </a:lnTo>
                <a:close/>
              </a:path>
              <a:path w="3171825" h="468630">
                <a:moveTo>
                  <a:pt x="1819666" y="230385"/>
                </a:moveTo>
                <a:lnTo>
                  <a:pt x="1812020" y="228627"/>
                </a:lnTo>
                <a:lnTo>
                  <a:pt x="1805006" y="227372"/>
                </a:lnTo>
                <a:lnTo>
                  <a:pt x="1798625" y="226618"/>
                </a:lnTo>
                <a:lnTo>
                  <a:pt x="1792877" y="226367"/>
                </a:lnTo>
                <a:lnTo>
                  <a:pt x="1820368" y="226367"/>
                </a:lnTo>
                <a:lnTo>
                  <a:pt x="1819666" y="230385"/>
                </a:lnTo>
                <a:close/>
              </a:path>
              <a:path w="3171825" h="468630">
                <a:moveTo>
                  <a:pt x="2098635" y="458985"/>
                </a:moveTo>
                <a:lnTo>
                  <a:pt x="2014547" y="458985"/>
                </a:lnTo>
                <a:lnTo>
                  <a:pt x="2014547" y="63549"/>
                </a:lnTo>
                <a:lnTo>
                  <a:pt x="2098635" y="63549"/>
                </a:lnTo>
                <a:lnTo>
                  <a:pt x="2098635" y="219521"/>
                </a:lnTo>
                <a:lnTo>
                  <a:pt x="2313543" y="219521"/>
                </a:lnTo>
                <a:lnTo>
                  <a:pt x="2313543" y="285750"/>
                </a:lnTo>
                <a:lnTo>
                  <a:pt x="2098635" y="285750"/>
                </a:lnTo>
                <a:lnTo>
                  <a:pt x="2098635" y="458985"/>
                </a:lnTo>
                <a:close/>
              </a:path>
              <a:path w="3171825" h="468630">
                <a:moveTo>
                  <a:pt x="2313543" y="219521"/>
                </a:moveTo>
                <a:lnTo>
                  <a:pt x="2229455" y="219521"/>
                </a:lnTo>
                <a:lnTo>
                  <a:pt x="2229455" y="63549"/>
                </a:lnTo>
                <a:lnTo>
                  <a:pt x="2313543" y="63549"/>
                </a:lnTo>
                <a:lnTo>
                  <a:pt x="2313543" y="219521"/>
                </a:lnTo>
                <a:close/>
              </a:path>
              <a:path w="3171825" h="468630">
                <a:moveTo>
                  <a:pt x="2313543" y="458985"/>
                </a:moveTo>
                <a:lnTo>
                  <a:pt x="2229455" y="458985"/>
                </a:lnTo>
                <a:lnTo>
                  <a:pt x="2229455" y="285750"/>
                </a:lnTo>
                <a:lnTo>
                  <a:pt x="2313543" y="285750"/>
                </a:lnTo>
                <a:lnTo>
                  <a:pt x="2313543" y="458985"/>
                </a:lnTo>
                <a:close/>
              </a:path>
              <a:path w="3171825" h="468630">
                <a:moveTo>
                  <a:pt x="2412953" y="223539"/>
                </a:moveTo>
                <a:lnTo>
                  <a:pt x="2394648" y="169217"/>
                </a:lnTo>
                <a:lnTo>
                  <a:pt x="2450942" y="152474"/>
                </a:lnTo>
                <a:lnTo>
                  <a:pt x="2506715" y="146893"/>
                </a:lnTo>
                <a:lnTo>
                  <a:pt x="2535495" y="148558"/>
                </a:lnTo>
                <a:lnTo>
                  <a:pt x="2580887" y="161878"/>
                </a:lnTo>
                <a:lnTo>
                  <a:pt x="2610262" y="188416"/>
                </a:lnTo>
                <a:lnTo>
                  <a:pt x="2619606" y="207466"/>
                </a:lnTo>
                <a:lnTo>
                  <a:pt x="2492874" y="207466"/>
                </a:lnTo>
                <a:lnTo>
                  <a:pt x="2475880" y="208471"/>
                </a:lnTo>
                <a:lnTo>
                  <a:pt x="2456895" y="211484"/>
                </a:lnTo>
                <a:lnTo>
                  <a:pt x="2435919" y="216507"/>
                </a:lnTo>
                <a:lnTo>
                  <a:pt x="2412953" y="223539"/>
                </a:lnTo>
                <a:close/>
              </a:path>
              <a:path w="3171825" h="468630">
                <a:moveTo>
                  <a:pt x="2471294" y="468064"/>
                </a:moveTo>
                <a:lnTo>
                  <a:pt x="2430701" y="461590"/>
                </a:lnTo>
                <a:lnTo>
                  <a:pt x="2387820" y="428169"/>
                </a:lnTo>
                <a:lnTo>
                  <a:pt x="2372919" y="374451"/>
                </a:lnTo>
                <a:lnTo>
                  <a:pt x="2375170" y="351057"/>
                </a:lnTo>
                <a:lnTo>
                  <a:pt x="2393178" y="313032"/>
                </a:lnTo>
                <a:lnTo>
                  <a:pt x="2428906" y="286875"/>
                </a:lnTo>
                <a:lnTo>
                  <a:pt x="2480624" y="273704"/>
                </a:lnTo>
                <a:lnTo>
                  <a:pt x="2512371" y="272057"/>
                </a:lnTo>
                <a:lnTo>
                  <a:pt x="2547197" y="272057"/>
                </a:lnTo>
                <a:lnTo>
                  <a:pt x="2547197" y="257175"/>
                </a:lnTo>
                <a:lnTo>
                  <a:pt x="2534546" y="218330"/>
                </a:lnTo>
                <a:lnTo>
                  <a:pt x="2492874" y="207466"/>
                </a:lnTo>
                <a:lnTo>
                  <a:pt x="2619606" y="207466"/>
                </a:lnTo>
                <a:lnTo>
                  <a:pt x="2624847" y="228004"/>
                </a:lnTo>
                <a:lnTo>
                  <a:pt x="2626671" y="252710"/>
                </a:lnTo>
                <a:lnTo>
                  <a:pt x="2626671" y="318343"/>
                </a:lnTo>
                <a:lnTo>
                  <a:pt x="2520407" y="318343"/>
                </a:lnTo>
                <a:lnTo>
                  <a:pt x="2491628" y="321422"/>
                </a:lnTo>
                <a:lnTo>
                  <a:pt x="2471071" y="330658"/>
                </a:lnTo>
                <a:lnTo>
                  <a:pt x="2458737" y="346053"/>
                </a:lnTo>
                <a:lnTo>
                  <a:pt x="2454625" y="367605"/>
                </a:lnTo>
                <a:lnTo>
                  <a:pt x="2455249" y="377028"/>
                </a:lnTo>
                <a:lnTo>
                  <a:pt x="2484633" y="409175"/>
                </a:lnTo>
                <a:lnTo>
                  <a:pt x="2493470" y="409872"/>
                </a:lnTo>
                <a:lnTo>
                  <a:pt x="2639905" y="409872"/>
                </a:lnTo>
                <a:lnTo>
                  <a:pt x="2640958" y="410616"/>
                </a:lnTo>
                <a:lnTo>
                  <a:pt x="2648995" y="413295"/>
                </a:lnTo>
                <a:lnTo>
                  <a:pt x="2646103" y="422374"/>
                </a:lnTo>
                <a:lnTo>
                  <a:pt x="2562079" y="422374"/>
                </a:lnTo>
                <a:lnTo>
                  <a:pt x="2545243" y="442363"/>
                </a:lnTo>
                <a:lnTo>
                  <a:pt x="2524500" y="456641"/>
                </a:lnTo>
                <a:lnTo>
                  <a:pt x="2499850" y="465208"/>
                </a:lnTo>
                <a:lnTo>
                  <a:pt x="2471294" y="468064"/>
                </a:lnTo>
                <a:close/>
              </a:path>
              <a:path w="3171825" h="468630">
                <a:moveTo>
                  <a:pt x="2639905" y="409872"/>
                </a:moveTo>
                <a:lnTo>
                  <a:pt x="2493470" y="409872"/>
                </a:lnTo>
                <a:lnTo>
                  <a:pt x="2509720" y="407761"/>
                </a:lnTo>
                <a:lnTo>
                  <a:pt x="2524091" y="401426"/>
                </a:lnTo>
                <a:lnTo>
                  <a:pt x="2536583" y="390869"/>
                </a:lnTo>
                <a:lnTo>
                  <a:pt x="2547197" y="376088"/>
                </a:lnTo>
                <a:lnTo>
                  <a:pt x="2547197" y="318343"/>
                </a:lnTo>
                <a:lnTo>
                  <a:pt x="2626671" y="318343"/>
                </a:lnTo>
                <a:lnTo>
                  <a:pt x="2626746" y="377028"/>
                </a:lnTo>
                <a:lnTo>
                  <a:pt x="2635204" y="406548"/>
                </a:lnTo>
                <a:lnTo>
                  <a:pt x="2639905" y="409872"/>
                </a:lnTo>
                <a:close/>
              </a:path>
              <a:path w="3171825" h="468630">
                <a:moveTo>
                  <a:pt x="2631880" y="467022"/>
                </a:moveTo>
                <a:lnTo>
                  <a:pt x="2588124" y="454372"/>
                </a:lnTo>
                <a:lnTo>
                  <a:pt x="2562079" y="422374"/>
                </a:lnTo>
                <a:lnTo>
                  <a:pt x="2646103" y="422374"/>
                </a:lnTo>
                <a:lnTo>
                  <a:pt x="2631880" y="467022"/>
                </a:lnTo>
                <a:close/>
              </a:path>
              <a:path w="3171825" h="468630">
                <a:moveTo>
                  <a:pt x="2796406" y="156120"/>
                </a:moveTo>
                <a:lnTo>
                  <a:pt x="2715294" y="156120"/>
                </a:lnTo>
                <a:lnTo>
                  <a:pt x="2715294" y="89743"/>
                </a:lnTo>
                <a:lnTo>
                  <a:pt x="2796406" y="80069"/>
                </a:lnTo>
                <a:lnTo>
                  <a:pt x="2796406" y="156120"/>
                </a:lnTo>
                <a:close/>
              </a:path>
              <a:path w="3171825" h="468630">
                <a:moveTo>
                  <a:pt x="2858169" y="213270"/>
                </a:moveTo>
                <a:lnTo>
                  <a:pt x="2670051" y="213270"/>
                </a:lnTo>
                <a:lnTo>
                  <a:pt x="2670051" y="156120"/>
                </a:lnTo>
                <a:lnTo>
                  <a:pt x="2866057" y="156120"/>
                </a:lnTo>
                <a:lnTo>
                  <a:pt x="2858169" y="213270"/>
                </a:lnTo>
                <a:close/>
              </a:path>
              <a:path w="3171825" h="468630">
                <a:moveTo>
                  <a:pt x="2810098" y="468064"/>
                </a:moveTo>
                <a:lnTo>
                  <a:pt x="2768947" y="461143"/>
                </a:lnTo>
                <a:lnTo>
                  <a:pt x="2728773" y="426578"/>
                </a:lnTo>
                <a:lnTo>
                  <a:pt x="2716792" y="388032"/>
                </a:lnTo>
                <a:lnTo>
                  <a:pt x="2715294" y="364182"/>
                </a:lnTo>
                <a:lnTo>
                  <a:pt x="2715294" y="213270"/>
                </a:lnTo>
                <a:lnTo>
                  <a:pt x="2796406" y="213270"/>
                </a:lnTo>
                <a:lnTo>
                  <a:pt x="2796488" y="364182"/>
                </a:lnTo>
                <a:lnTo>
                  <a:pt x="2796871" y="372516"/>
                </a:lnTo>
                <a:lnTo>
                  <a:pt x="2816448" y="403621"/>
                </a:lnTo>
                <a:lnTo>
                  <a:pt x="2866658" y="403621"/>
                </a:lnTo>
                <a:lnTo>
                  <a:pt x="2888977" y="444698"/>
                </a:lnTo>
                <a:lnTo>
                  <a:pt x="2851472" y="462111"/>
                </a:lnTo>
                <a:lnTo>
                  <a:pt x="2820386" y="467692"/>
                </a:lnTo>
                <a:lnTo>
                  <a:pt x="2810098" y="468064"/>
                </a:lnTo>
                <a:close/>
              </a:path>
              <a:path w="3171825" h="468630">
                <a:moveTo>
                  <a:pt x="2866658" y="403621"/>
                </a:moveTo>
                <a:lnTo>
                  <a:pt x="2826767" y="403621"/>
                </a:lnTo>
                <a:lnTo>
                  <a:pt x="2834654" y="402970"/>
                </a:lnTo>
                <a:lnTo>
                  <a:pt x="2842989" y="401017"/>
                </a:lnTo>
                <a:lnTo>
                  <a:pt x="2851770" y="397761"/>
                </a:lnTo>
                <a:lnTo>
                  <a:pt x="2860997" y="393203"/>
                </a:lnTo>
                <a:lnTo>
                  <a:pt x="2866658" y="403621"/>
                </a:lnTo>
                <a:close/>
              </a:path>
              <a:path w="3171825" h="468630">
                <a:moveTo>
                  <a:pt x="3044936" y="468064"/>
                </a:moveTo>
                <a:lnTo>
                  <a:pt x="2981796" y="457348"/>
                </a:lnTo>
                <a:lnTo>
                  <a:pt x="2935250" y="425201"/>
                </a:lnTo>
                <a:lnTo>
                  <a:pt x="2906563" y="374786"/>
                </a:lnTo>
                <a:lnTo>
                  <a:pt x="2897001" y="309264"/>
                </a:lnTo>
                <a:lnTo>
                  <a:pt x="2898015" y="286717"/>
                </a:lnTo>
                <a:lnTo>
                  <a:pt x="2906126" y="245194"/>
                </a:lnTo>
                <a:lnTo>
                  <a:pt x="2922330" y="208750"/>
                </a:lnTo>
                <a:lnTo>
                  <a:pt x="2960700" y="168175"/>
                </a:lnTo>
                <a:lnTo>
                  <a:pt x="3013971" y="148223"/>
                </a:lnTo>
                <a:lnTo>
                  <a:pt x="3034667" y="146893"/>
                </a:lnTo>
                <a:lnTo>
                  <a:pt x="3065177" y="149432"/>
                </a:lnTo>
                <a:lnTo>
                  <a:pt x="3092115" y="157050"/>
                </a:lnTo>
                <a:lnTo>
                  <a:pt x="3115481" y="169747"/>
                </a:lnTo>
                <a:lnTo>
                  <a:pt x="3135275" y="187523"/>
                </a:lnTo>
                <a:lnTo>
                  <a:pt x="3145789" y="202406"/>
                </a:lnTo>
                <a:lnTo>
                  <a:pt x="3036453" y="202406"/>
                </a:lnTo>
                <a:lnTo>
                  <a:pt x="3024575" y="203568"/>
                </a:lnTo>
                <a:lnTo>
                  <a:pt x="2991014" y="231697"/>
                </a:lnTo>
                <a:lnTo>
                  <a:pt x="2980494" y="281285"/>
                </a:lnTo>
                <a:lnTo>
                  <a:pt x="3170020" y="281285"/>
                </a:lnTo>
                <a:lnTo>
                  <a:pt x="3171291" y="300632"/>
                </a:lnTo>
                <a:lnTo>
                  <a:pt x="3171189" y="304781"/>
                </a:lnTo>
                <a:lnTo>
                  <a:pt x="3170882" y="311422"/>
                </a:lnTo>
                <a:lnTo>
                  <a:pt x="3170371" y="320557"/>
                </a:lnTo>
                <a:lnTo>
                  <a:pt x="3169654" y="332184"/>
                </a:lnTo>
                <a:lnTo>
                  <a:pt x="2980494" y="332184"/>
                </a:lnTo>
                <a:lnTo>
                  <a:pt x="2983331" y="351225"/>
                </a:lnTo>
                <a:lnTo>
                  <a:pt x="3002669" y="390376"/>
                </a:lnTo>
                <a:lnTo>
                  <a:pt x="3037495" y="406421"/>
                </a:lnTo>
                <a:lnTo>
                  <a:pt x="3052378" y="407491"/>
                </a:lnTo>
                <a:lnTo>
                  <a:pt x="3145479" y="407491"/>
                </a:lnTo>
                <a:lnTo>
                  <a:pt x="3159832" y="426987"/>
                </a:lnTo>
                <a:lnTo>
                  <a:pt x="3133619" y="444958"/>
                </a:lnTo>
                <a:lnTo>
                  <a:pt x="3105733" y="457795"/>
                </a:lnTo>
                <a:lnTo>
                  <a:pt x="3076172" y="465497"/>
                </a:lnTo>
                <a:lnTo>
                  <a:pt x="3044936" y="468064"/>
                </a:lnTo>
                <a:close/>
              </a:path>
              <a:path w="3171825" h="468630">
                <a:moveTo>
                  <a:pt x="3170020" y="281285"/>
                </a:moveTo>
                <a:lnTo>
                  <a:pt x="3090776" y="281285"/>
                </a:lnTo>
                <a:lnTo>
                  <a:pt x="3090776" y="277862"/>
                </a:lnTo>
                <a:lnTo>
                  <a:pt x="3087380" y="244850"/>
                </a:lnTo>
                <a:lnTo>
                  <a:pt x="3077195" y="221270"/>
                </a:lnTo>
                <a:lnTo>
                  <a:pt x="3060219" y="207122"/>
                </a:lnTo>
                <a:lnTo>
                  <a:pt x="3036453" y="202406"/>
                </a:lnTo>
                <a:lnTo>
                  <a:pt x="3145789" y="202406"/>
                </a:lnTo>
                <a:lnTo>
                  <a:pt x="3151032" y="209829"/>
                </a:lnTo>
                <a:lnTo>
                  <a:pt x="3162287" y="236115"/>
                </a:lnTo>
                <a:lnTo>
                  <a:pt x="3169040" y="266383"/>
                </a:lnTo>
                <a:lnTo>
                  <a:pt x="3170020" y="281285"/>
                </a:lnTo>
                <a:close/>
              </a:path>
              <a:path w="3171825" h="468630">
                <a:moveTo>
                  <a:pt x="3145479" y="407491"/>
                </a:moveTo>
                <a:lnTo>
                  <a:pt x="3052378" y="407491"/>
                </a:lnTo>
                <a:lnTo>
                  <a:pt x="3061977" y="407100"/>
                </a:lnTo>
                <a:lnTo>
                  <a:pt x="3071279" y="405928"/>
                </a:lnTo>
                <a:lnTo>
                  <a:pt x="3116337" y="387678"/>
                </a:lnTo>
                <a:lnTo>
                  <a:pt x="3126197" y="381297"/>
                </a:lnTo>
                <a:lnTo>
                  <a:pt x="3145479" y="407491"/>
                </a:lnTo>
                <a:close/>
              </a:path>
            </a:pathLst>
          </a:custGeom>
          <a:solidFill>
            <a:srgbClr val="000000"/>
          </a:solidFill>
        </p:spPr>
        <p:txBody>
          <a:bodyPr wrap="square" lIns="0" tIns="0" rIns="0" bIns="0" rtlCol="0"/>
          <a:lstStyle/>
          <a:p>
            <a:endParaRPr/>
          </a:p>
        </p:txBody>
      </p:sp>
      <p:pic>
        <p:nvPicPr>
          <p:cNvPr id="83" name="bg object 83"/>
          <p:cNvPicPr/>
          <p:nvPr/>
        </p:nvPicPr>
        <p:blipFill>
          <a:blip r:embed="rId31" cstate="print"/>
          <a:stretch>
            <a:fillRect/>
          </a:stretch>
        </p:blipFill>
        <p:spPr>
          <a:xfrm>
            <a:off x="550366" y="1272654"/>
            <a:ext cx="4517155" cy="584745"/>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133923" y="203538"/>
            <a:ext cx="2876153" cy="452120"/>
          </a:xfrm>
          <a:prstGeom prst="rect">
            <a:avLst/>
          </a:prstGeom>
        </p:spPr>
        <p:txBody>
          <a:bodyPr wrap="square" lIns="0" tIns="0" rIns="0" bIns="0">
            <a:spAutoFit/>
          </a:bodyPr>
          <a:lstStyle>
            <a:lvl1pPr>
              <a:defRPr sz="2800" b="1" i="0">
                <a:solidFill>
                  <a:schemeClr val="tx1"/>
                </a:solidFill>
                <a:latin typeface="Trebuchet MS"/>
                <a:cs typeface="Trebuchet MS"/>
              </a:defRPr>
            </a:lvl1pPr>
          </a:lstStyle>
          <a:p>
            <a:endParaRPr/>
          </a:p>
        </p:txBody>
      </p:sp>
      <p:sp>
        <p:nvSpPr>
          <p:cNvPr id="3" name="Holder 3"/>
          <p:cNvSpPr>
            <a:spLocks noGrp="1"/>
          </p:cNvSpPr>
          <p:nvPr>
            <p:ph type="body" idx="1"/>
          </p:nvPr>
        </p:nvSpPr>
        <p:spPr>
          <a:xfrm>
            <a:off x="457200" y="1183005"/>
            <a:ext cx="8229600" cy="339471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5"/>
            <a:ext cx="2926080" cy="25717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57175"/>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23/2021</a:t>
            </a:fld>
            <a:endParaRPr lang="en-US"/>
          </a:p>
        </p:txBody>
      </p:sp>
      <p:sp>
        <p:nvSpPr>
          <p:cNvPr id="6" name="Holder 6"/>
          <p:cNvSpPr>
            <a:spLocks noGrp="1"/>
          </p:cNvSpPr>
          <p:nvPr>
            <p:ph type="sldNum" sz="quarter" idx="7"/>
          </p:nvPr>
        </p:nvSpPr>
        <p:spPr>
          <a:xfrm>
            <a:off x="6583680" y="4783455"/>
            <a:ext cx="2103120" cy="25717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image" Target="../media/image61.png"/><Relationship Id="rId21" Type="http://schemas.openxmlformats.org/officeDocument/2006/relationships/image" Target="../media/image79.png"/><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image" Target="../media/image60.png"/><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69.png"/><Relationship Id="rId24" Type="http://schemas.openxmlformats.org/officeDocument/2006/relationships/image" Target="../media/image82.png"/><Relationship Id="rId32" Type="http://schemas.openxmlformats.org/officeDocument/2006/relationships/image" Target="../media/image89.png"/><Relationship Id="rId5" Type="http://schemas.openxmlformats.org/officeDocument/2006/relationships/image" Target="../media/image63.png"/><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png"/><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image" Target="../media/image8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8" Type="http://schemas.openxmlformats.org/officeDocument/2006/relationships/image" Target="../media/image102.jp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jpg"/><Relationship Id="rId12" Type="http://schemas.openxmlformats.org/officeDocument/2006/relationships/image" Target="../media/image106.jpg"/><Relationship Id="rId17" Type="http://schemas.openxmlformats.org/officeDocument/2006/relationships/image" Target="../media/image37.png"/><Relationship Id="rId2" Type="http://schemas.openxmlformats.org/officeDocument/2006/relationships/image" Target="../media/image96.png"/><Relationship Id="rId16" Type="http://schemas.openxmlformats.org/officeDocument/2006/relationships/image" Target="../media/image91.png"/><Relationship Id="rId1" Type="http://schemas.openxmlformats.org/officeDocument/2006/relationships/slideLayout" Target="../slideLayouts/slideLayout1.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jp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119.png"/></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125.png"/><Relationship Id="rId4" Type="http://schemas.openxmlformats.org/officeDocument/2006/relationships/image" Target="../media/image124.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37.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45524" y="3867150"/>
            <a:ext cx="2269076" cy="974626"/>
          </a:xfrm>
          <a:prstGeom prst="rect">
            <a:avLst/>
          </a:prstGeom>
        </p:spPr>
        <p:txBody>
          <a:bodyPr vert="horz" wrap="square" lIns="0" tIns="12700" rIns="0" bIns="0" rtlCol="0">
            <a:spAutoFit/>
          </a:bodyPr>
          <a:lstStyle/>
          <a:p>
            <a:pPr marL="12700">
              <a:lnSpc>
                <a:spcPct val="100000"/>
              </a:lnSpc>
              <a:spcBef>
                <a:spcPts val="100"/>
              </a:spcBef>
            </a:pPr>
            <a:r>
              <a:rPr lang="en-US" sz="1500" i="1" spc="-5" dirty="0">
                <a:latin typeface="Trebuchet MS"/>
                <a:cs typeface="Trebuchet MS"/>
              </a:rPr>
              <a:t>Akshay Gunjal – </a:t>
            </a:r>
            <a:r>
              <a:rPr lang="en-US" sz="1500" b="1" i="1" spc="-5" dirty="0">
                <a:latin typeface="Trebuchet MS"/>
                <a:cs typeface="Trebuchet MS"/>
              </a:rPr>
              <a:t>171007</a:t>
            </a:r>
          </a:p>
          <a:p>
            <a:pPr marL="12700">
              <a:lnSpc>
                <a:spcPct val="100000"/>
              </a:lnSpc>
              <a:spcBef>
                <a:spcPts val="100"/>
              </a:spcBef>
            </a:pPr>
            <a:r>
              <a:rPr lang="en-US" sz="1500" i="1" spc="-5" dirty="0">
                <a:latin typeface="Trebuchet MS"/>
                <a:cs typeface="Trebuchet MS"/>
              </a:rPr>
              <a:t>Shaun Dsilva – </a:t>
            </a:r>
            <a:r>
              <a:rPr lang="en-US" sz="1500" b="1" i="1" spc="-5" dirty="0">
                <a:latin typeface="Trebuchet MS"/>
                <a:cs typeface="Trebuchet MS"/>
              </a:rPr>
              <a:t>171104</a:t>
            </a:r>
          </a:p>
          <a:p>
            <a:pPr marL="12700">
              <a:lnSpc>
                <a:spcPct val="100000"/>
              </a:lnSpc>
              <a:spcBef>
                <a:spcPts val="100"/>
              </a:spcBef>
            </a:pPr>
            <a:r>
              <a:rPr lang="en-US" sz="1500" i="1" spc="-5" dirty="0">
                <a:latin typeface="Trebuchet MS"/>
                <a:cs typeface="Trebuchet MS"/>
              </a:rPr>
              <a:t>Davon Carvalho - </a:t>
            </a:r>
            <a:r>
              <a:rPr lang="en-US" sz="1500" b="1" i="1" spc="-5" dirty="0">
                <a:latin typeface="Trebuchet MS"/>
                <a:cs typeface="Trebuchet MS"/>
              </a:rPr>
              <a:t>171027</a:t>
            </a:r>
          </a:p>
          <a:p>
            <a:pPr marL="12700">
              <a:lnSpc>
                <a:spcPct val="100000"/>
              </a:lnSpc>
              <a:spcBef>
                <a:spcPts val="100"/>
              </a:spcBef>
            </a:pPr>
            <a:endParaRPr sz="1500" dirty="0">
              <a:latin typeface="Trebuchet MS"/>
              <a:cs typeface="Trebuchet MS"/>
            </a:endParaRPr>
          </a:p>
        </p:txBody>
      </p:sp>
      <p:pic>
        <p:nvPicPr>
          <p:cNvPr id="5" name="object 5"/>
          <p:cNvPicPr/>
          <p:nvPr/>
        </p:nvPicPr>
        <p:blipFill>
          <a:blip r:embed="rId2" cstate="print"/>
          <a:stretch>
            <a:fillRect/>
          </a:stretch>
        </p:blipFill>
        <p:spPr>
          <a:xfrm>
            <a:off x="7422500" y="837529"/>
            <a:ext cx="1281224" cy="1215820"/>
          </a:xfrm>
          <a:prstGeom prst="rect">
            <a:avLst/>
          </a:prstGeom>
        </p:spPr>
      </p:pic>
      <p:grpSp>
        <p:nvGrpSpPr>
          <p:cNvPr id="6" name="object 6"/>
          <p:cNvGrpSpPr/>
          <p:nvPr/>
        </p:nvGrpSpPr>
        <p:grpSpPr>
          <a:xfrm>
            <a:off x="5672687" y="1059775"/>
            <a:ext cx="1216025" cy="1216025"/>
            <a:chOff x="5672687" y="1059775"/>
            <a:chExt cx="1216025" cy="1216025"/>
          </a:xfrm>
        </p:grpSpPr>
        <p:pic>
          <p:nvPicPr>
            <p:cNvPr id="7" name="object 7"/>
            <p:cNvPicPr/>
            <p:nvPr/>
          </p:nvPicPr>
          <p:blipFill>
            <a:blip r:embed="rId3" cstate="print"/>
            <a:stretch>
              <a:fillRect/>
            </a:stretch>
          </p:blipFill>
          <p:spPr>
            <a:xfrm>
              <a:off x="5672687" y="1059775"/>
              <a:ext cx="1215824" cy="1215824"/>
            </a:xfrm>
            <a:prstGeom prst="rect">
              <a:avLst/>
            </a:prstGeom>
          </p:spPr>
        </p:pic>
        <p:pic>
          <p:nvPicPr>
            <p:cNvPr id="8" name="object 8"/>
            <p:cNvPicPr/>
            <p:nvPr/>
          </p:nvPicPr>
          <p:blipFill>
            <a:blip r:embed="rId4" cstate="print"/>
            <a:stretch>
              <a:fillRect/>
            </a:stretch>
          </p:blipFill>
          <p:spPr>
            <a:xfrm>
              <a:off x="5896585" y="1466688"/>
              <a:ext cx="215744" cy="215774"/>
            </a:xfrm>
            <a:prstGeom prst="rect">
              <a:avLst/>
            </a:prstGeom>
          </p:spPr>
        </p:pic>
        <p:pic>
          <p:nvPicPr>
            <p:cNvPr id="9" name="object 9"/>
            <p:cNvPicPr/>
            <p:nvPr/>
          </p:nvPicPr>
          <p:blipFill>
            <a:blip r:embed="rId4" cstate="print"/>
            <a:stretch>
              <a:fillRect/>
            </a:stretch>
          </p:blipFill>
          <p:spPr>
            <a:xfrm>
              <a:off x="6172722" y="1471088"/>
              <a:ext cx="215744" cy="215774"/>
            </a:xfrm>
            <a:prstGeom prst="rect">
              <a:avLst/>
            </a:prstGeom>
          </p:spPr>
        </p:pic>
        <p:pic>
          <p:nvPicPr>
            <p:cNvPr id="10" name="object 10"/>
            <p:cNvPicPr/>
            <p:nvPr/>
          </p:nvPicPr>
          <p:blipFill>
            <a:blip r:embed="rId5" cstate="print"/>
            <a:stretch>
              <a:fillRect/>
            </a:stretch>
          </p:blipFill>
          <p:spPr>
            <a:xfrm>
              <a:off x="6448885" y="1471088"/>
              <a:ext cx="215743" cy="215774"/>
            </a:xfrm>
            <a:prstGeom prst="rect">
              <a:avLst/>
            </a:prstGeom>
          </p:spPr>
        </p:pic>
      </p:grpSp>
      <p:sp>
        <p:nvSpPr>
          <p:cNvPr id="11" name="Rectangle 10">
            <a:extLst>
              <a:ext uri="{FF2B5EF4-FFF2-40B4-BE49-F238E27FC236}">
                <a16:creationId xmlns:a16="http://schemas.microsoft.com/office/drawing/2014/main" id="{93E21965-D47F-4B74-845D-03710ED0C6EA}"/>
              </a:ext>
            </a:extLst>
          </p:cNvPr>
          <p:cNvSpPr/>
          <p:nvPr/>
        </p:nvSpPr>
        <p:spPr>
          <a:xfrm>
            <a:off x="440276" y="381119"/>
            <a:ext cx="4953000" cy="152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bject 17">
            <a:extLst>
              <a:ext uri="{FF2B5EF4-FFF2-40B4-BE49-F238E27FC236}">
                <a16:creationId xmlns:a16="http://schemas.microsoft.com/office/drawing/2014/main" id="{C623E050-7217-4234-B43B-AADBCD0D4BBF}"/>
              </a:ext>
            </a:extLst>
          </p:cNvPr>
          <p:cNvSpPr txBox="1">
            <a:spLocks/>
          </p:cNvSpPr>
          <p:nvPr/>
        </p:nvSpPr>
        <p:spPr>
          <a:xfrm>
            <a:off x="342900" y="317821"/>
            <a:ext cx="8458200" cy="1256754"/>
          </a:xfrm>
          <a:prstGeom prst="rect">
            <a:avLst/>
          </a:prstGeom>
        </p:spPr>
        <p:txBody>
          <a:bodyPr vert="horz" wrap="square" lIns="0" tIns="12700" rIns="0" bIns="0" rtlCol="0">
            <a:spAutoFit/>
          </a:bodyPr>
          <a:lstStyle>
            <a:lvl1pPr>
              <a:defRPr>
                <a:latin typeface="+mj-lt"/>
                <a:ea typeface="+mj-ea"/>
                <a:cs typeface="+mj-cs"/>
              </a:defRPr>
            </a:lvl1pPr>
          </a:lstStyle>
          <a:p>
            <a:pPr marL="12700" marR="5080">
              <a:spcBef>
                <a:spcPts val="100"/>
              </a:spcBef>
            </a:pPr>
            <a:r>
              <a:rPr lang="en-US" sz="4000" b="1" kern="0" spc="-95" dirty="0">
                <a:solidFill>
                  <a:sysClr val="windowText" lastClr="000000"/>
                </a:solidFill>
                <a:latin typeface="Bell MT" panose="02020503060305020303" pitchFamily="18" charset="0"/>
              </a:rPr>
              <a:t>Hate Speech Detection Using </a:t>
            </a:r>
          </a:p>
          <a:p>
            <a:pPr marL="12700" marR="5080">
              <a:spcBef>
                <a:spcPts val="100"/>
              </a:spcBef>
            </a:pPr>
            <a:r>
              <a:rPr lang="en-US" sz="4000" b="1" kern="0" spc="-95" dirty="0">
                <a:solidFill>
                  <a:sysClr val="windowText" lastClr="000000"/>
                </a:solidFill>
                <a:latin typeface="Bell MT" panose="02020503060305020303" pitchFamily="18" charset="0"/>
              </a:rPr>
              <a:t>Machine Learning</a:t>
            </a:r>
            <a:endParaRPr lang="en-US" sz="4000" b="1" kern="0" dirty="0">
              <a:solidFill>
                <a:sysClr val="windowText" lastClr="000000"/>
              </a:solidFill>
              <a:latin typeface="Bell MT" panose="02020503060305020303" pitchFamily="18" charset="0"/>
            </a:endParaRPr>
          </a:p>
        </p:txBody>
      </p:sp>
      <p:pic>
        <p:nvPicPr>
          <p:cNvPr id="14" name="Google Shape;108;p1">
            <a:extLst>
              <a:ext uri="{FF2B5EF4-FFF2-40B4-BE49-F238E27FC236}">
                <a16:creationId xmlns:a16="http://schemas.microsoft.com/office/drawing/2014/main" id="{3A3A808C-E324-4240-B289-A47DE107F55A}"/>
              </a:ext>
            </a:extLst>
          </p:cNvPr>
          <p:cNvPicPr preferRelativeResize="0"/>
          <p:nvPr/>
        </p:nvPicPr>
        <p:blipFill rotWithShape="1">
          <a:blip r:embed="rId6">
            <a:alphaModFix/>
          </a:blip>
          <a:srcRect/>
          <a:stretch/>
        </p:blipFill>
        <p:spPr>
          <a:xfrm>
            <a:off x="8712986" y="4782288"/>
            <a:ext cx="346788" cy="335193"/>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HAUN D'SILVA\Downloads\usecase.png">
            <a:extLst>
              <a:ext uri="{FF2B5EF4-FFF2-40B4-BE49-F238E27FC236}">
                <a16:creationId xmlns:a16="http://schemas.microsoft.com/office/drawing/2014/main" id="{531C0ADB-A34B-487C-B4FF-739CD6FB81CD}"/>
              </a:ext>
            </a:extLst>
          </p:cNvPr>
          <p:cNvPicPr>
            <a:picLocks noChangeAspect="1" noChangeArrowheads="1"/>
          </p:cNvPicPr>
          <p:nvPr/>
        </p:nvPicPr>
        <p:blipFill>
          <a:blip r:embed="rId2"/>
          <a:srcRect/>
          <a:stretch>
            <a:fillRect/>
          </a:stretch>
        </p:blipFill>
        <p:spPr bwMode="auto">
          <a:xfrm>
            <a:off x="3585259" y="610283"/>
            <a:ext cx="5558741" cy="3640774"/>
          </a:xfrm>
          <a:prstGeom prst="rect">
            <a:avLst/>
          </a:prstGeom>
          <a:noFill/>
        </p:spPr>
      </p:pic>
      <p:sp>
        <p:nvSpPr>
          <p:cNvPr id="6" name="TextBox 5">
            <a:extLst>
              <a:ext uri="{FF2B5EF4-FFF2-40B4-BE49-F238E27FC236}">
                <a16:creationId xmlns:a16="http://schemas.microsoft.com/office/drawing/2014/main" id="{383A2FE9-F8AE-4B7B-A58D-9AA64BA60813}"/>
              </a:ext>
            </a:extLst>
          </p:cNvPr>
          <p:cNvSpPr txBox="1"/>
          <p:nvPr/>
        </p:nvSpPr>
        <p:spPr>
          <a:xfrm>
            <a:off x="5031572" y="4487507"/>
            <a:ext cx="2666114" cy="369332"/>
          </a:xfrm>
          <a:prstGeom prst="rect">
            <a:avLst/>
          </a:prstGeom>
          <a:noFill/>
        </p:spPr>
        <p:txBody>
          <a:bodyPr wrap="none" rtlCol="0">
            <a:spAutoFit/>
          </a:bodyPr>
          <a:lstStyle/>
          <a:p>
            <a:r>
              <a:rPr lang="en-US" dirty="0">
                <a:latin typeface="Trebuchet MS" panose="020B0603020202020204" pitchFamily="34" charset="0"/>
              </a:rPr>
              <a:t>Fig 2. Use Case Diagram</a:t>
            </a:r>
          </a:p>
        </p:txBody>
      </p:sp>
      <p:pic>
        <p:nvPicPr>
          <p:cNvPr id="7" name="Google Shape;108;p1">
            <a:extLst>
              <a:ext uri="{FF2B5EF4-FFF2-40B4-BE49-F238E27FC236}">
                <a16:creationId xmlns:a16="http://schemas.microsoft.com/office/drawing/2014/main" id="{0209C380-90E4-4C05-8D5C-73D2F4B5BE0C}"/>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8" name="Down Arrow 7">
            <a:extLst>
              <a:ext uri="{FF2B5EF4-FFF2-40B4-BE49-F238E27FC236}">
                <a16:creationId xmlns:a16="http://schemas.microsoft.com/office/drawing/2014/main" id="{1BF78287-4637-4400-82C4-4029FBD9A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8609DA9D-8E6C-442E-8D6B-2532BD3A202A}"/>
              </a:ext>
            </a:extLst>
          </p:cNvPr>
          <p:cNvSpPr>
            <a:spLocks noGrp="1"/>
          </p:cNvSpPr>
          <p:nvPr>
            <p:ph type="title"/>
          </p:nvPr>
        </p:nvSpPr>
        <p:spPr>
          <a:xfrm>
            <a:off x="838200" y="1999783"/>
            <a:ext cx="1784864" cy="861774"/>
          </a:xfrm>
        </p:spPr>
        <p:txBody>
          <a:bodyPr/>
          <a:lstStyle/>
          <a:p>
            <a:r>
              <a:rPr lang="en-US" dirty="0">
                <a:solidFill>
                  <a:schemeClr val="bg1"/>
                </a:solidFill>
              </a:rPr>
              <a:t>Use Case</a:t>
            </a:r>
            <a:br>
              <a:rPr lang="en-US" dirty="0">
                <a:solidFill>
                  <a:schemeClr val="bg1"/>
                </a:solidFill>
              </a:rPr>
            </a:br>
            <a:r>
              <a:rPr lang="en-US" dirty="0">
                <a:solidFill>
                  <a:schemeClr val="bg1"/>
                </a:solidFill>
              </a:rPr>
              <a:t>Diagram</a:t>
            </a:r>
          </a:p>
        </p:txBody>
      </p:sp>
    </p:spTree>
    <p:extLst>
      <p:ext uri="{BB962C8B-B14F-4D97-AF65-F5344CB8AC3E}">
        <p14:creationId xmlns:p14="http://schemas.microsoft.com/office/powerpoint/2010/main" val="366361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HAUN D'SILVA\Desktop\activity1.png">
            <a:extLst>
              <a:ext uri="{FF2B5EF4-FFF2-40B4-BE49-F238E27FC236}">
                <a16:creationId xmlns:a16="http://schemas.microsoft.com/office/drawing/2014/main" id="{A4004940-0461-462D-AB49-B511DDC6BD9F}"/>
              </a:ext>
            </a:extLst>
          </p:cNvPr>
          <p:cNvPicPr>
            <a:picLocks noChangeAspect="1" noChangeArrowheads="1"/>
          </p:cNvPicPr>
          <p:nvPr/>
        </p:nvPicPr>
        <p:blipFill>
          <a:blip r:embed="rId2"/>
          <a:srcRect/>
          <a:stretch>
            <a:fillRect/>
          </a:stretch>
        </p:blipFill>
        <p:spPr bwMode="auto">
          <a:xfrm>
            <a:off x="4604305" y="742950"/>
            <a:ext cx="4258007" cy="3214710"/>
          </a:xfrm>
          <a:prstGeom prst="rect">
            <a:avLst/>
          </a:prstGeom>
          <a:noFill/>
        </p:spPr>
      </p:pic>
      <p:sp>
        <p:nvSpPr>
          <p:cNvPr id="6" name="Oval 5">
            <a:extLst>
              <a:ext uri="{FF2B5EF4-FFF2-40B4-BE49-F238E27FC236}">
                <a16:creationId xmlns:a16="http://schemas.microsoft.com/office/drawing/2014/main" id="{61010939-FAE3-46AA-AD62-3B2067A15D0F}"/>
              </a:ext>
            </a:extLst>
          </p:cNvPr>
          <p:cNvSpPr/>
          <p:nvPr/>
        </p:nvSpPr>
        <p:spPr>
          <a:xfrm>
            <a:off x="6324600" y="3957660"/>
            <a:ext cx="233196" cy="233196"/>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65000"/>
                    <a:lumOff val="35000"/>
                  </a:schemeClr>
                </a:solidFill>
              </a:rPr>
              <a:t>A</a:t>
            </a:r>
          </a:p>
        </p:txBody>
      </p:sp>
      <p:sp>
        <p:nvSpPr>
          <p:cNvPr id="7" name="TextBox 6">
            <a:extLst>
              <a:ext uri="{FF2B5EF4-FFF2-40B4-BE49-F238E27FC236}">
                <a16:creationId xmlns:a16="http://schemas.microsoft.com/office/drawing/2014/main" id="{4855462B-4E9D-4204-BE06-E5D91642F366}"/>
              </a:ext>
            </a:extLst>
          </p:cNvPr>
          <p:cNvSpPr txBox="1"/>
          <p:nvPr/>
        </p:nvSpPr>
        <p:spPr>
          <a:xfrm>
            <a:off x="5676757" y="4375311"/>
            <a:ext cx="2161238" cy="307777"/>
          </a:xfrm>
          <a:prstGeom prst="rect">
            <a:avLst/>
          </a:prstGeom>
          <a:noFill/>
        </p:spPr>
        <p:txBody>
          <a:bodyPr wrap="square" rtlCol="0">
            <a:spAutoFit/>
          </a:bodyPr>
          <a:lstStyle/>
          <a:p>
            <a:r>
              <a:rPr lang="en-US" sz="1400" dirty="0">
                <a:latin typeface="Trebuchet MS" panose="020B0603020202020204" pitchFamily="34" charset="0"/>
              </a:rPr>
              <a:t>Fig 3.1 Activity Diagram</a:t>
            </a:r>
          </a:p>
        </p:txBody>
      </p:sp>
      <p:pic>
        <p:nvPicPr>
          <p:cNvPr id="9" name="Google Shape;108;p1">
            <a:extLst>
              <a:ext uri="{FF2B5EF4-FFF2-40B4-BE49-F238E27FC236}">
                <a16:creationId xmlns:a16="http://schemas.microsoft.com/office/drawing/2014/main" id="{60548102-F655-4AD7-9981-52175A9150E6}"/>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10" name="Down Arrow 7">
            <a:extLst>
              <a:ext uri="{FF2B5EF4-FFF2-40B4-BE49-F238E27FC236}">
                <a16:creationId xmlns:a16="http://schemas.microsoft.com/office/drawing/2014/main" id="{349742BE-D0E0-4C6A-BA92-00D127CDF7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59A194B7-F38C-41E3-A06B-8A6CFDE5369A}"/>
              </a:ext>
            </a:extLst>
          </p:cNvPr>
          <p:cNvSpPr>
            <a:spLocks noGrp="1"/>
          </p:cNvSpPr>
          <p:nvPr>
            <p:ph type="title"/>
          </p:nvPr>
        </p:nvSpPr>
        <p:spPr>
          <a:xfrm>
            <a:off x="838200" y="1999783"/>
            <a:ext cx="1784864" cy="861774"/>
          </a:xfrm>
        </p:spPr>
        <p:txBody>
          <a:bodyPr/>
          <a:lstStyle/>
          <a:p>
            <a:r>
              <a:rPr lang="en-US" dirty="0">
                <a:solidFill>
                  <a:schemeClr val="bg1"/>
                </a:solidFill>
              </a:rPr>
              <a:t>Activity</a:t>
            </a:r>
            <a:br>
              <a:rPr lang="en-US" dirty="0">
                <a:solidFill>
                  <a:schemeClr val="bg1"/>
                </a:solidFill>
              </a:rPr>
            </a:br>
            <a:r>
              <a:rPr lang="en-US" dirty="0">
                <a:solidFill>
                  <a:schemeClr val="bg1"/>
                </a:solidFill>
              </a:rPr>
              <a:t>Diagram</a:t>
            </a:r>
          </a:p>
        </p:txBody>
      </p:sp>
    </p:spTree>
    <p:extLst>
      <p:ext uri="{BB962C8B-B14F-4D97-AF65-F5344CB8AC3E}">
        <p14:creationId xmlns:p14="http://schemas.microsoft.com/office/powerpoint/2010/main" val="110613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8759915D-8DE9-49C1-8FB8-58077047E9A9}"/>
              </a:ext>
            </a:extLst>
          </p:cNvPr>
          <p:cNvPicPr>
            <a:picLocks noChangeAspect="1" noChangeArrowheads="1"/>
          </p:cNvPicPr>
          <p:nvPr/>
        </p:nvPicPr>
        <p:blipFill>
          <a:blip r:embed="rId2"/>
          <a:srcRect/>
          <a:stretch>
            <a:fillRect/>
          </a:stretch>
        </p:blipFill>
        <p:spPr bwMode="auto">
          <a:xfrm>
            <a:off x="4607496" y="1006527"/>
            <a:ext cx="4536504" cy="3130446"/>
          </a:xfrm>
          <a:prstGeom prst="rect">
            <a:avLst/>
          </a:prstGeom>
          <a:noFill/>
          <a:ln w="9525">
            <a:noFill/>
            <a:miter lim="800000"/>
            <a:headEnd/>
            <a:tailEnd/>
          </a:ln>
          <a:effectLst/>
        </p:spPr>
      </p:pic>
      <p:sp>
        <p:nvSpPr>
          <p:cNvPr id="6" name="Oval 5">
            <a:extLst>
              <a:ext uri="{FF2B5EF4-FFF2-40B4-BE49-F238E27FC236}">
                <a16:creationId xmlns:a16="http://schemas.microsoft.com/office/drawing/2014/main" id="{94029EC6-BFE6-42E3-AFF8-F53736DF43D5}"/>
              </a:ext>
            </a:extLst>
          </p:cNvPr>
          <p:cNvSpPr/>
          <p:nvPr/>
        </p:nvSpPr>
        <p:spPr>
          <a:xfrm>
            <a:off x="6477000" y="773331"/>
            <a:ext cx="233196" cy="233196"/>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65000"/>
                    <a:lumOff val="35000"/>
                  </a:schemeClr>
                </a:solidFill>
              </a:rPr>
              <a:t>A</a:t>
            </a:r>
          </a:p>
        </p:txBody>
      </p:sp>
      <p:sp>
        <p:nvSpPr>
          <p:cNvPr id="7" name="TextBox 6">
            <a:extLst>
              <a:ext uri="{FF2B5EF4-FFF2-40B4-BE49-F238E27FC236}">
                <a16:creationId xmlns:a16="http://schemas.microsoft.com/office/drawing/2014/main" id="{733AB901-A018-4640-9F76-F932CD174E72}"/>
              </a:ext>
            </a:extLst>
          </p:cNvPr>
          <p:cNvSpPr txBox="1"/>
          <p:nvPr/>
        </p:nvSpPr>
        <p:spPr>
          <a:xfrm>
            <a:off x="5537509" y="4384546"/>
            <a:ext cx="2161238" cy="307777"/>
          </a:xfrm>
          <a:prstGeom prst="rect">
            <a:avLst/>
          </a:prstGeom>
          <a:noFill/>
        </p:spPr>
        <p:txBody>
          <a:bodyPr wrap="square" rtlCol="0">
            <a:spAutoFit/>
          </a:bodyPr>
          <a:lstStyle/>
          <a:p>
            <a:r>
              <a:rPr lang="en-US" sz="1400" dirty="0">
                <a:latin typeface="Trebuchet MS" panose="020B0603020202020204" pitchFamily="34" charset="0"/>
              </a:rPr>
              <a:t>Fig 3.2 Activity Diagram</a:t>
            </a:r>
          </a:p>
        </p:txBody>
      </p:sp>
      <p:pic>
        <p:nvPicPr>
          <p:cNvPr id="8" name="Google Shape;108;p1">
            <a:extLst>
              <a:ext uri="{FF2B5EF4-FFF2-40B4-BE49-F238E27FC236}">
                <a16:creationId xmlns:a16="http://schemas.microsoft.com/office/drawing/2014/main" id="{D4CC57FB-D541-4581-9FBE-3BD1B6212237}"/>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9" name="Down Arrow 7">
            <a:extLst>
              <a:ext uri="{FF2B5EF4-FFF2-40B4-BE49-F238E27FC236}">
                <a16:creationId xmlns:a16="http://schemas.microsoft.com/office/drawing/2014/main" id="{796C082E-5BC7-4F98-BC83-A383C7D9C4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B852A4F1-B42B-4E6B-BAAD-0F739033B342}"/>
              </a:ext>
            </a:extLst>
          </p:cNvPr>
          <p:cNvSpPr>
            <a:spLocks noGrp="1"/>
          </p:cNvSpPr>
          <p:nvPr>
            <p:ph type="title"/>
          </p:nvPr>
        </p:nvSpPr>
        <p:spPr>
          <a:xfrm>
            <a:off x="838200" y="1999783"/>
            <a:ext cx="1784864" cy="861774"/>
          </a:xfrm>
        </p:spPr>
        <p:txBody>
          <a:bodyPr/>
          <a:lstStyle/>
          <a:p>
            <a:r>
              <a:rPr lang="en-US" dirty="0">
                <a:solidFill>
                  <a:schemeClr val="bg1"/>
                </a:solidFill>
              </a:rPr>
              <a:t>Activity</a:t>
            </a:r>
            <a:br>
              <a:rPr lang="en-US" dirty="0">
                <a:solidFill>
                  <a:schemeClr val="bg1"/>
                </a:solidFill>
              </a:rPr>
            </a:br>
            <a:r>
              <a:rPr lang="en-US" dirty="0">
                <a:solidFill>
                  <a:schemeClr val="bg1"/>
                </a:solidFill>
              </a:rPr>
              <a:t>Diagram</a:t>
            </a:r>
          </a:p>
        </p:txBody>
      </p:sp>
    </p:spTree>
    <p:extLst>
      <p:ext uri="{BB962C8B-B14F-4D97-AF65-F5344CB8AC3E}">
        <p14:creationId xmlns:p14="http://schemas.microsoft.com/office/powerpoint/2010/main" val="3848810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HAUN D'SILVA\Downloads\Untitled Diagram.png">
            <a:extLst>
              <a:ext uri="{FF2B5EF4-FFF2-40B4-BE49-F238E27FC236}">
                <a16:creationId xmlns:a16="http://schemas.microsoft.com/office/drawing/2014/main" id="{F56405C4-A0AD-44B9-9DBC-64931F97D672}"/>
              </a:ext>
            </a:extLst>
          </p:cNvPr>
          <p:cNvPicPr>
            <a:picLocks noChangeAspect="1" noChangeArrowheads="1"/>
          </p:cNvPicPr>
          <p:nvPr/>
        </p:nvPicPr>
        <p:blipFill>
          <a:blip r:embed="rId2"/>
          <a:srcRect/>
          <a:stretch>
            <a:fillRect/>
          </a:stretch>
        </p:blipFill>
        <p:spPr bwMode="auto">
          <a:xfrm>
            <a:off x="685800" y="1200150"/>
            <a:ext cx="7920325" cy="3559635"/>
          </a:xfrm>
          <a:prstGeom prst="rect">
            <a:avLst/>
          </a:prstGeom>
          <a:noFill/>
        </p:spPr>
      </p:pic>
      <p:sp>
        <p:nvSpPr>
          <p:cNvPr id="5" name="TextBox 4">
            <a:extLst>
              <a:ext uri="{FF2B5EF4-FFF2-40B4-BE49-F238E27FC236}">
                <a16:creationId xmlns:a16="http://schemas.microsoft.com/office/drawing/2014/main" id="{123EDC06-6802-4F7A-B767-FCFCD923916A}"/>
              </a:ext>
            </a:extLst>
          </p:cNvPr>
          <p:cNvSpPr txBox="1"/>
          <p:nvPr/>
        </p:nvSpPr>
        <p:spPr>
          <a:xfrm>
            <a:off x="3565342" y="4759785"/>
            <a:ext cx="2161238" cy="307777"/>
          </a:xfrm>
          <a:prstGeom prst="rect">
            <a:avLst/>
          </a:prstGeom>
          <a:noFill/>
        </p:spPr>
        <p:txBody>
          <a:bodyPr wrap="square" rtlCol="0">
            <a:spAutoFit/>
          </a:bodyPr>
          <a:lstStyle/>
          <a:p>
            <a:r>
              <a:rPr lang="en-US" sz="1400" dirty="0">
                <a:latin typeface="Trebuchet MS" panose="020B0603020202020204" pitchFamily="34" charset="0"/>
              </a:rPr>
              <a:t>Fig 4. Sequence Diagram</a:t>
            </a:r>
          </a:p>
        </p:txBody>
      </p:sp>
      <p:pic>
        <p:nvPicPr>
          <p:cNvPr id="6" name="Google Shape;108;p1">
            <a:extLst>
              <a:ext uri="{FF2B5EF4-FFF2-40B4-BE49-F238E27FC236}">
                <a16:creationId xmlns:a16="http://schemas.microsoft.com/office/drawing/2014/main" id="{B8F05D39-D23F-4DDF-A94B-B4B2E4F3FFD2}"/>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9" name="Arrow: Chevron 8">
            <a:extLst>
              <a:ext uri="{FF2B5EF4-FFF2-40B4-BE49-F238E27FC236}">
                <a16:creationId xmlns:a16="http://schemas.microsoft.com/office/drawing/2014/main" id="{955AB649-E93E-4FCB-8632-179E8FE8E1A0}"/>
              </a:ext>
            </a:extLst>
          </p:cNvPr>
          <p:cNvSpPr/>
          <p:nvPr/>
        </p:nvSpPr>
        <p:spPr>
          <a:xfrm>
            <a:off x="1515794" y="281216"/>
            <a:ext cx="762000" cy="614134"/>
          </a:xfrm>
          <a:prstGeom prst="chevron">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1D13CE2C-12A5-4FDB-B3BA-DBC2E973940E}"/>
              </a:ext>
            </a:extLst>
          </p:cNvPr>
          <p:cNvSpPr/>
          <p:nvPr/>
        </p:nvSpPr>
        <p:spPr>
          <a:xfrm>
            <a:off x="1972994" y="281216"/>
            <a:ext cx="5257800" cy="614134"/>
          </a:xfrm>
          <a:prstGeom prst="rect">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Chevron 10">
            <a:extLst>
              <a:ext uri="{FF2B5EF4-FFF2-40B4-BE49-F238E27FC236}">
                <a16:creationId xmlns:a16="http://schemas.microsoft.com/office/drawing/2014/main" id="{D3F86F32-F903-456D-9BC2-5D6EBD6F808C}"/>
              </a:ext>
            </a:extLst>
          </p:cNvPr>
          <p:cNvSpPr/>
          <p:nvPr/>
        </p:nvSpPr>
        <p:spPr>
          <a:xfrm flipH="1">
            <a:off x="6773594" y="281216"/>
            <a:ext cx="762000" cy="614134"/>
          </a:xfrm>
          <a:prstGeom prst="chevron">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itle 1">
            <a:extLst>
              <a:ext uri="{FF2B5EF4-FFF2-40B4-BE49-F238E27FC236}">
                <a16:creationId xmlns:a16="http://schemas.microsoft.com/office/drawing/2014/main" id="{64361BA1-4E7F-4A1C-9BCE-92930DDA9167}"/>
              </a:ext>
            </a:extLst>
          </p:cNvPr>
          <p:cNvSpPr>
            <a:spLocks noGrp="1"/>
          </p:cNvSpPr>
          <p:nvPr>
            <p:ph type="title"/>
          </p:nvPr>
        </p:nvSpPr>
        <p:spPr>
          <a:xfrm>
            <a:off x="2855261" y="342061"/>
            <a:ext cx="3581400" cy="492443"/>
          </a:xfrm>
        </p:spPr>
        <p:txBody>
          <a:bodyPr/>
          <a:lstStyle/>
          <a:p>
            <a:r>
              <a:rPr lang="en-US" sz="3200" dirty="0">
                <a:solidFill>
                  <a:schemeClr val="bg1"/>
                </a:solidFill>
              </a:rPr>
              <a:t>Sequence Diagram</a:t>
            </a:r>
          </a:p>
        </p:txBody>
      </p:sp>
    </p:spTree>
    <p:extLst>
      <p:ext uri="{BB962C8B-B14F-4D97-AF65-F5344CB8AC3E}">
        <p14:creationId xmlns:p14="http://schemas.microsoft.com/office/powerpoint/2010/main" val="4033675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SHAUN D'SILVA\Downloads\dfd level 0.png">
            <a:extLst>
              <a:ext uri="{FF2B5EF4-FFF2-40B4-BE49-F238E27FC236}">
                <a16:creationId xmlns:a16="http://schemas.microsoft.com/office/drawing/2014/main" id="{B587F814-C201-4497-8EEB-05DA5F372790}"/>
              </a:ext>
            </a:extLst>
          </p:cNvPr>
          <p:cNvPicPr>
            <a:picLocks noChangeAspect="1" noChangeArrowheads="1"/>
          </p:cNvPicPr>
          <p:nvPr/>
        </p:nvPicPr>
        <p:blipFill>
          <a:blip r:embed="rId2"/>
          <a:srcRect/>
          <a:stretch>
            <a:fillRect/>
          </a:stretch>
        </p:blipFill>
        <p:spPr bwMode="auto">
          <a:xfrm>
            <a:off x="3490247" y="742950"/>
            <a:ext cx="5525799" cy="3202743"/>
          </a:xfrm>
          <a:prstGeom prst="rect">
            <a:avLst/>
          </a:prstGeom>
          <a:noFill/>
        </p:spPr>
      </p:pic>
      <p:sp>
        <p:nvSpPr>
          <p:cNvPr id="6" name="TextBox 5">
            <a:extLst>
              <a:ext uri="{FF2B5EF4-FFF2-40B4-BE49-F238E27FC236}">
                <a16:creationId xmlns:a16="http://schemas.microsoft.com/office/drawing/2014/main" id="{6779F3AB-8278-4FDC-83E7-592F92F4DE16}"/>
              </a:ext>
            </a:extLst>
          </p:cNvPr>
          <p:cNvSpPr txBox="1"/>
          <p:nvPr/>
        </p:nvSpPr>
        <p:spPr>
          <a:xfrm>
            <a:off x="5257800" y="4056213"/>
            <a:ext cx="2286000" cy="307777"/>
          </a:xfrm>
          <a:prstGeom prst="rect">
            <a:avLst/>
          </a:prstGeom>
          <a:noFill/>
        </p:spPr>
        <p:txBody>
          <a:bodyPr wrap="square" rtlCol="0">
            <a:spAutoFit/>
          </a:bodyPr>
          <a:lstStyle/>
          <a:p>
            <a:r>
              <a:rPr lang="en-US" sz="1400" dirty="0">
                <a:latin typeface="Trebuchet MS" panose="020B0603020202020204" pitchFamily="34" charset="0"/>
              </a:rPr>
              <a:t>Fig 5.1 Data flow Diagram</a:t>
            </a:r>
          </a:p>
        </p:txBody>
      </p:sp>
      <p:pic>
        <p:nvPicPr>
          <p:cNvPr id="7" name="Google Shape;108;p1">
            <a:extLst>
              <a:ext uri="{FF2B5EF4-FFF2-40B4-BE49-F238E27FC236}">
                <a16:creationId xmlns:a16="http://schemas.microsoft.com/office/drawing/2014/main" id="{C505835A-20D6-4B68-B247-DA226BA0CD1F}"/>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8" name="Down Arrow 7">
            <a:extLst>
              <a:ext uri="{FF2B5EF4-FFF2-40B4-BE49-F238E27FC236}">
                <a16:creationId xmlns:a16="http://schemas.microsoft.com/office/drawing/2014/main" id="{4A791FD7-4F46-42C9-9B89-5729518B3B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739DB6B-7C58-44C4-A865-35E9176B06BD}"/>
              </a:ext>
            </a:extLst>
          </p:cNvPr>
          <p:cNvSpPr>
            <a:spLocks noGrp="1"/>
          </p:cNvSpPr>
          <p:nvPr>
            <p:ph type="title"/>
          </p:nvPr>
        </p:nvSpPr>
        <p:spPr>
          <a:xfrm>
            <a:off x="838200" y="1999783"/>
            <a:ext cx="1784864" cy="861774"/>
          </a:xfrm>
        </p:spPr>
        <p:txBody>
          <a:bodyPr/>
          <a:lstStyle/>
          <a:p>
            <a:r>
              <a:rPr lang="en-US" dirty="0">
                <a:solidFill>
                  <a:schemeClr val="bg1"/>
                </a:solidFill>
              </a:rPr>
              <a:t>Data flow</a:t>
            </a:r>
            <a:br>
              <a:rPr lang="en-US" dirty="0">
                <a:solidFill>
                  <a:schemeClr val="bg1"/>
                </a:solidFill>
              </a:rPr>
            </a:br>
            <a:r>
              <a:rPr lang="en-US" dirty="0">
                <a:solidFill>
                  <a:schemeClr val="bg1"/>
                </a:solidFill>
              </a:rPr>
              <a:t>Diagram</a:t>
            </a:r>
          </a:p>
        </p:txBody>
      </p:sp>
      <p:sp>
        <p:nvSpPr>
          <p:cNvPr id="10" name="Rounded Rectangle 117">
            <a:extLst>
              <a:ext uri="{FF2B5EF4-FFF2-40B4-BE49-F238E27FC236}">
                <a16:creationId xmlns:a16="http://schemas.microsoft.com/office/drawing/2014/main" id="{B391810D-81E8-4BD5-83A9-2B380BCA05AF}"/>
              </a:ext>
            </a:extLst>
          </p:cNvPr>
          <p:cNvSpPr/>
          <p:nvPr/>
        </p:nvSpPr>
        <p:spPr>
          <a:xfrm>
            <a:off x="565776" y="3900454"/>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a:extLst>
              <a:ext uri="{FF2B5EF4-FFF2-40B4-BE49-F238E27FC236}">
                <a16:creationId xmlns:a16="http://schemas.microsoft.com/office/drawing/2014/main" id="{B5EDA81A-C72C-4ABB-8FE2-A0EA72D7FCFC}"/>
              </a:ext>
            </a:extLst>
          </p:cNvPr>
          <p:cNvSpPr/>
          <p:nvPr/>
        </p:nvSpPr>
        <p:spPr>
          <a:xfrm>
            <a:off x="598688" y="3962986"/>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Level 0 </a:t>
            </a:r>
          </a:p>
        </p:txBody>
      </p:sp>
    </p:spTree>
    <p:extLst>
      <p:ext uri="{BB962C8B-B14F-4D97-AF65-F5344CB8AC3E}">
        <p14:creationId xmlns:p14="http://schemas.microsoft.com/office/powerpoint/2010/main" val="4162091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HAUN D'SILVA\Downloads\dfd level 1.png">
            <a:extLst>
              <a:ext uri="{FF2B5EF4-FFF2-40B4-BE49-F238E27FC236}">
                <a16:creationId xmlns:a16="http://schemas.microsoft.com/office/drawing/2014/main" id="{27C7B9CD-07F8-4DD3-9E57-A20094BF6A24}"/>
              </a:ext>
            </a:extLst>
          </p:cNvPr>
          <p:cNvPicPr>
            <a:picLocks noChangeAspect="1" noChangeArrowheads="1"/>
          </p:cNvPicPr>
          <p:nvPr/>
        </p:nvPicPr>
        <p:blipFill>
          <a:blip r:embed="rId2"/>
          <a:srcRect/>
          <a:stretch>
            <a:fillRect/>
          </a:stretch>
        </p:blipFill>
        <p:spPr bwMode="auto">
          <a:xfrm>
            <a:off x="3881533" y="467809"/>
            <a:ext cx="4724400" cy="3925721"/>
          </a:xfrm>
          <a:prstGeom prst="rect">
            <a:avLst/>
          </a:prstGeom>
          <a:noFill/>
        </p:spPr>
      </p:pic>
      <p:sp>
        <p:nvSpPr>
          <p:cNvPr id="6" name="Rounded Rectangle 117">
            <a:extLst>
              <a:ext uri="{FF2B5EF4-FFF2-40B4-BE49-F238E27FC236}">
                <a16:creationId xmlns:a16="http://schemas.microsoft.com/office/drawing/2014/main" id="{8F443800-64F2-4FAE-B496-EE35FE5B3ED8}"/>
              </a:ext>
            </a:extLst>
          </p:cNvPr>
          <p:cNvSpPr/>
          <p:nvPr/>
        </p:nvSpPr>
        <p:spPr>
          <a:xfrm>
            <a:off x="565776" y="3900454"/>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AEE76E14-E397-4194-B20E-74EFDA4C20C2}"/>
              </a:ext>
            </a:extLst>
          </p:cNvPr>
          <p:cNvSpPr/>
          <p:nvPr/>
        </p:nvSpPr>
        <p:spPr>
          <a:xfrm>
            <a:off x="598688" y="3962986"/>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Level 1 </a:t>
            </a:r>
          </a:p>
        </p:txBody>
      </p:sp>
      <p:sp>
        <p:nvSpPr>
          <p:cNvPr id="8" name="TextBox 7">
            <a:extLst>
              <a:ext uri="{FF2B5EF4-FFF2-40B4-BE49-F238E27FC236}">
                <a16:creationId xmlns:a16="http://schemas.microsoft.com/office/drawing/2014/main" id="{FA4FCA1E-629E-4F1C-97C9-A96C04559595}"/>
              </a:ext>
            </a:extLst>
          </p:cNvPr>
          <p:cNvSpPr txBox="1"/>
          <p:nvPr/>
        </p:nvSpPr>
        <p:spPr>
          <a:xfrm>
            <a:off x="5486400" y="4537191"/>
            <a:ext cx="2085038" cy="276999"/>
          </a:xfrm>
          <a:prstGeom prst="rect">
            <a:avLst/>
          </a:prstGeom>
          <a:noFill/>
        </p:spPr>
        <p:txBody>
          <a:bodyPr wrap="square" rtlCol="0">
            <a:spAutoFit/>
          </a:bodyPr>
          <a:lstStyle/>
          <a:p>
            <a:r>
              <a:rPr lang="en-US" sz="1200" dirty="0">
                <a:latin typeface="Trebuchet MS" panose="020B0603020202020204" pitchFamily="34" charset="0"/>
              </a:rPr>
              <a:t>Fig 5.2 Data flow Diagram</a:t>
            </a:r>
          </a:p>
        </p:txBody>
      </p:sp>
      <p:pic>
        <p:nvPicPr>
          <p:cNvPr id="9" name="Google Shape;108;p1">
            <a:extLst>
              <a:ext uri="{FF2B5EF4-FFF2-40B4-BE49-F238E27FC236}">
                <a16:creationId xmlns:a16="http://schemas.microsoft.com/office/drawing/2014/main" id="{1BF30D26-7EAF-46CC-B955-6AA444A613B1}"/>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10" name="Down Arrow 7">
            <a:extLst>
              <a:ext uri="{FF2B5EF4-FFF2-40B4-BE49-F238E27FC236}">
                <a16:creationId xmlns:a16="http://schemas.microsoft.com/office/drawing/2014/main" id="{40375D94-71BC-4B66-8FB2-DC1859F96A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B9B0A999-54CC-49F4-AA02-AF15AE26E00D}"/>
              </a:ext>
            </a:extLst>
          </p:cNvPr>
          <p:cNvSpPr>
            <a:spLocks noGrp="1"/>
          </p:cNvSpPr>
          <p:nvPr>
            <p:ph type="title"/>
          </p:nvPr>
        </p:nvSpPr>
        <p:spPr>
          <a:xfrm>
            <a:off x="844668" y="1999782"/>
            <a:ext cx="1784864" cy="861774"/>
          </a:xfrm>
        </p:spPr>
        <p:txBody>
          <a:bodyPr/>
          <a:lstStyle/>
          <a:p>
            <a:r>
              <a:rPr lang="en-US" dirty="0">
                <a:solidFill>
                  <a:schemeClr val="bg1"/>
                </a:solidFill>
              </a:rPr>
              <a:t>Data flow</a:t>
            </a:r>
            <a:br>
              <a:rPr lang="en-US" dirty="0">
                <a:solidFill>
                  <a:schemeClr val="bg1"/>
                </a:solidFill>
              </a:rPr>
            </a:br>
            <a:r>
              <a:rPr lang="en-US" dirty="0">
                <a:solidFill>
                  <a:schemeClr val="bg1"/>
                </a:solidFill>
              </a:rPr>
              <a:t>Diagram</a:t>
            </a:r>
          </a:p>
        </p:txBody>
      </p:sp>
    </p:spTree>
    <p:extLst>
      <p:ext uri="{BB962C8B-B14F-4D97-AF65-F5344CB8AC3E}">
        <p14:creationId xmlns:p14="http://schemas.microsoft.com/office/powerpoint/2010/main" val="4225421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SHAUN D'SILVA\Downloads\dfd level 2.png">
            <a:extLst>
              <a:ext uri="{FF2B5EF4-FFF2-40B4-BE49-F238E27FC236}">
                <a16:creationId xmlns:a16="http://schemas.microsoft.com/office/drawing/2014/main" id="{ED5DD887-58C9-47B2-885F-D6B9737DBEED}"/>
              </a:ext>
            </a:extLst>
          </p:cNvPr>
          <p:cNvPicPr>
            <a:picLocks noChangeAspect="1" noChangeArrowheads="1"/>
          </p:cNvPicPr>
          <p:nvPr/>
        </p:nvPicPr>
        <p:blipFill>
          <a:blip r:embed="rId2"/>
          <a:srcRect/>
          <a:stretch>
            <a:fillRect/>
          </a:stretch>
        </p:blipFill>
        <p:spPr bwMode="auto">
          <a:xfrm>
            <a:off x="3352800" y="484867"/>
            <a:ext cx="5624043" cy="3891605"/>
          </a:xfrm>
          <a:prstGeom prst="rect">
            <a:avLst/>
          </a:prstGeom>
          <a:noFill/>
        </p:spPr>
      </p:pic>
      <p:sp>
        <p:nvSpPr>
          <p:cNvPr id="8" name="TextBox 7">
            <a:extLst>
              <a:ext uri="{FF2B5EF4-FFF2-40B4-BE49-F238E27FC236}">
                <a16:creationId xmlns:a16="http://schemas.microsoft.com/office/drawing/2014/main" id="{4913C6E0-07EC-4B38-86F7-7B8228E51F56}"/>
              </a:ext>
            </a:extLst>
          </p:cNvPr>
          <p:cNvSpPr txBox="1"/>
          <p:nvPr/>
        </p:nvSpPr>
        <p:spPr>
          <a:xfrm>
            <a:off x="5105400" y="4427961"/>
            <a:ext cx="2313638" cy="307777"/>
          </a:xfrm>
          <a:prstGeom prst="rect">
            <a:avLst/>
          </a:prstGeom>
          <a:noFill/>
        </p:spPr>
        <p:txBody>
          <a:bodyPr wrap="square" rtlCol="0">
            <a:spAutoFit/>
          </a:bodyPr>
          <a:lstStyle/>
          <a:p>
            <a:r>
              <a:rPr lang="en-US" sz="1400" dirty="0">
                <a:latin typeface="Trebuchet MS" panose="020B0603020202020204" pitchFamily="34" charset="0"/>
              </a:rPr>
              <a:t>Fig 5.3 Data flow Diagram</a:t>
            </a:r>
          </a:p>
        </p:txBody>
      </p:sp>
      <p:pic>
        <p:nvPicPr>
          <p:cNvPr id="9" name="Google Shape;108;p1">
            <a:extLst>
              <a:ext uri="{FF2B5EF4-FFF2-40B4-BE49-F238E27FC236}">
                <a16:creationId xmlns:a16="http://schemas.microsoft.com/office/drawing/2014/main" id="{20695452-F5E6-4464-9501-B5D615125E62}"/>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10" name="Down Arrow 7">
            <a:extLst>
              <a:ext uri="{FF2B5EF4-FFF2-40B4-BE49-F238E27FC236}">
                <a16:creationId xmlns:a16="http://schemas.microsoft.com/office/drawing/2014/main" id="{BE170497-ADFA-41CE-AAB2-FA39C28C98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97F644F-E5BF-4061-BF58-03F767F3FA2D}"/>
              </a:ext>
            </a:extLst>
          </p:cNvPr>
          <p:cNvSpPr>
            <a:spLocks noGrp="1"/>
          </p:cNvSpPr>
          <p:nvPr>
            <p:ph type="title"/>
          </p:nvPr>
        </p:nvSpPr>
        <p:spPr>
          <a:xfrm>
            <a:off x="844668" y="1999782"/>
            <a:ext cx="1784864" cy="861774"/>
          </a:xfrm>
        </p:spPr>
        <p:txBody>
          <a:bodyPr/>
          <a:lstStyle/>
          <a:p>
            <a:r>
              <a:rPr lang="en-US" dirty="0">
                <a:solidFill>
                  <a:schemeClr val="bg1"/>
                </a:solidFill>
              </a:rPr>
              <a:t>Data flow</a:t>
            </a:r>
            <a:br>
              <a:rPr lang="en-US" dirty="0">
                <a:solidFill>
                  <a:schemeClr val="bg1"/>
                </a:solidFill>
              </a:rPr>
            </a:br>
            <a:r>
              <a:rPr lang="en-US" dirty="0">
                <a:solidFill>
                  <a:schemeClr val="bg1"/>
                </a:solidFill>
              </a:rPr>
              <a:t>Diagram</a:t>
            </a:r>
          </a:p>
        </p:txBody>
      </p:sp>
      <p:sp>
        <p:nvSpPr>
          <p:cNvPr id="12" name="Rounded Rectangle 117">
            <a:extLst>
              <a:ext uri="{FF2B5EF4-FFF2-40B4-BE49-F238E27FC236}">
                <a16:creationId xmlns:a16="http://schemas.microsoft.com/office/drawing/2014/main" id="{7FE76232-8042-4FCD-A97A-D9F44719D368}"/>
              </a:ext>
            </a:extLst>
          </p:cNvPr>
          <p:cNvSpPr/>
          <p:nvPr/>
        </p:nvSpPr>
        <p:spPr>
          <a:xfrm>
            <a:off x="565776" y="3900454"/>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a:extLst>
              <a:ext uri="{FF2B5EF4-FFF2-40B4-BE49-F238E27FC236}">
                <a16:creationId xmlns:a16="http://schemas.microsoft.com/office/drawing/2014/main" id="{8463A611-AC12-46C2-B081-6731F1A9EDAD}"/>
              </a:ext>
            </a:extLst>
          </p:cNvPr>
          <p:cNvSpPr/>
          <p:nvPr/>
        </p:nvSpPr>
        <p:spPr>
          <a:xfrm>
            <a:off x="598688" y="3962986"/>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Level 2 </a:t>
            </a:r>
          </a:p>
        </p:txBody>
      </p:sp>
    </p:spTree>
    <p:extLst>
      <p:ext uri="{BB962C8B-B14F-4D97-AF65-F5344CB8AC3E}">
        <p14:creationId xmlns:p14="http://schemas.microsoft.com/office/powerpoint/2010/main" val="16501001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3408" y="0"/>
            <a:ext cx="9144000" cy="865505"/>
          </a:xfrm>
          <a:custGeom>
            <a:avLst/>
            <a:gdLst/>
            <a:ahLst/>
            <a:cxnLst/>
            <a:rect l="l" t="t" r="r" b="b"/>
            <a:pathLst>
              <a:path w="9144000" h="865505">
                <a:moveTo>
                  <a:pt x="9143999" y="864899"/>
                </a:moveTo>
                <a:lnTo>
                  <a:pt x="0" y="864899"/>
                </a:lnTo>
                <a:lnTo>
                  <a:pt x="0" y="0"/>
                </a:lnTo>
                <a:lnTo>
                  <a:pt x="9143999" y="0"/>
                </a:lnTo>
                <a:lnTo>
                  <a:pt x="9143999" y="864899"/>
                </a:lnTo>
                <a:close/>
              </a:path>
            </a:pathLst>
          </a:custGeom>
          <a:solidFill>
            <a:srgbClr val="F4F7FA"/>
          </a:solidFill>
        </p:spPr>
        <p:txBody>
          <a:bodyPr wrap="square" lIns="0" tIns="0" rIns="0" bIns="0" rtlCol="0"/>
          <a:lstStyle/>
          <a:p>
            <a:endParaRPr/>
          </a:p>
        </p:txBody>
      </p:sp>
      <p:sp>
        <p:nvSpPr>
          <p:cNvPr id="3" name="object 3"/>
          <p:cNvSpPr txBox="1">
            <a:spLocks noGrp="1"/>
          </p:cNvSpPr>
          <p:nvPr>
            <p:ph type="title"/>
          </p:nvPr>
        </p:nvSpPr>
        <p:spPr>
          <a:xfrm>
            <a:off x="471113" y="313847"/>
            <a:ext cx="3281101" cy="505267"/>
          </a:xfrm>
          <a:prstGeom prst="rect">
            <a:avLst/>
          </a:prstGeom>
        </p:spPr>
        <p:txBody>
          <a:bodyPr vert="horz" wrap="square" lIns="0" tIns="12700" rIns="0" bIns="0" rtlCol="0">
            <a:spAutoFit/>
          </a:bodyPr>
          <a:lstStyle/>
          <a:p>
            <a:pPr marL="27940">
              <a:lnSpc>
                <a:spcPct val="100000"/>
              </a:lnSpc>
              <a:spcBef>
                <a:spcPts val="100"/>
              </a:spcBef>
            </a:pPr>
            <a:r>
              <a:rPr sz="3200" spc="25" dirty="0"/>
              <a:t>Modeling</a:t>
            </a:r>
            <a:r>
              <a:rPr sz="3200" spc="-180" dirty="0"/>
              <a:t> </a:t>
            </a:r>
            <a:r>
              <a:rPr sz="3200" spc="-25" dirty="0"/>
              <a:t>P</a:t>
            </a:r>
            <a:r>
              <a:rPr sz="3200" spc="-160" dirty="0"/>
              <a:t>r</a:t>
            </a:r>
            <a:r>
              <a:rPr sz="3200" spc="-25" dirty="0"/>
              <a:t>o</a:t>
            </a:r>
            <a:r>
              <a:rPr sz="3200" spc="-80" dirty="0"/>
              <a:t>c</a:t>
            </a:r>
            <a:r>
              <a:rPr sz="3200" spc="45" dirty="0"/>
              <a:t>e</a:t>
            </a:r>
            <a:r>
              <a:rPr sz="3200" spc="15" dirty="0"/>
              <a:t>s</a:t>
            </a:r>
            <a:r>
              <a:rPr sz="3200" spc="145" dirty="0"/>
              <a:t>s</a:t>
            </a:r>
          </a:p>
        </p:txBody>
      </p:sp>
      <p:grpSp>
        <p:nvGrpSpPr>
          <p:cNvPr id="4" name="object 4"/>
          <p:cNvGrpSpPr/>
          <p:nvPr/>
        </p:nvGrpSpPr>
        <p:grpSpPr>
          <a:xfrm>
            <a:off x="510858" y="1069043"/>
            <a:ext cx="8122284" cy="2063114"/>
            <a:chOff x="565514" y="1193011"/>
            <a:chExt cx="8122284" cy="2063114"/>
          </a:xfrm>
        </p:grpSpPr>
        <p:sp>
          <p:nvSpPr>
            <p:cNvPr id="5" name="object 5"/>
            <p:cNvSpPr/>
            <p:nvPr/>
          </p:nvSpPr>
          <p:spPr>
            <a:xfrm>
              <a:off x="654724" y="3062332"/>
              <a:ext cx="7933055" cy="71755"/>
            </a:xfrm>
            <a:custGeom>
              <a:avLst/>
              <a:gdLst/>
              <a:ahLst/>
              <a:cxnLst/>
              <a:rect l="l" t="t" r="r" b="b"/>
              <a:pathLst>
                <a:path w="7933055" h="71755">
                  <a:moveTo>
                    <a:pt x="7932590" y="71620"/>
                  </a:moveTo>
                  <a:lnTo>
                    <a:pt x="0" y="71620"/>
                  </a:lnTo>
                  <a:lnTo>
                    <a:pt x="0" y="0"/>
                  </a:lnTo>
                  <a:lnTo>
                    <a:pt x="7932590" y="0"/>
                  </a:lnTo>
                  <a:lnTo>
                    <a:pt x="7932590" y="71620"/>
                  </a:lnTo>
                  <a:close/>
                </a:path>
              </a:pathLst>
            </a:custGeom>
            <a:solidFill>
              <a:srgbClr val="CECECE"/>
            </a:solidFill>
          </p:spPr>
          <p:txBody>
            <a:bodyPr wrap="square" lIns="0" tIns="0" rIns="0" bIns="0" rtlCol="0"/>
            <a:lstStyle/>
            <a:p>
              <a:endParaRPr/>
            </a:p>
          </p:txBody>
        </p:sp>
        <p:pic>
          <p:nvPicPr>
            <p:cNvPr id="6" name="object 6"/>
            <p:cNvPicPr/>
            <p:nvPr/>
          </p:nvPicPr>
          <p:blipFill>
            <a:blip r:embed="rId2" cstate="print"/>
            <a:stretch>
              <a:fillRect/>
            </a:stretch>
          </p:blipFill>
          <p:spPr>
            <a:xfrm>
              <a:off x="565514" y="3020688"/>
              <a:ext cx="157699" cy="158676"/>
            </a:xfrm>
            <a:prstGeom prst="rect">
              <a:avLst/>
            </a:prstGeom>
          </p:spPr>
        </p:pic>
        <p:pic>
          <p:nvPicPr>
            <p:cNvPr id="7" name="object 7"/>
            <p:cNvPicPr/>
            <p:nvPr/>
          </p:nvPicPr>
          <p:blipFill>
            <a:blip r:embed="rId3" cstate="print"/>
            <a:stretch>
              <a:fillRect/>
            </a:stretch>
          </p:blipFill>
          <p:spPr>
            <a:xfrm>
              <a:off x="8529932" y="3020688"/>
              <a:ext cx="157699" cy="158676"/>
            </a:xfrm>
            <a:prstGeom prst="rect">
              <a:avLst/>
            </a:prstGeom>
          </p:spPr>
        </p:pic>
        <p:pic>
          <p:nvPicPr>
            <p:cNvPr id="8" name="object 8"/>
            <p:cNvPicPr/>
            <p:nvPr/>
          </p:nvPicPr>
          <p:blipFill>
            <a:blip r:embed="rId4" cstate="print"/>
            <a:stretch>
              <a:fillRect/>
            </a:stretch>
          </p:blipFill>
          <p:spPr>
            <a:xfrm>
              <a:off x="1271425" y="3124963"/>
              <a:ext cx="156449" cy="130631"/>
            </a:xfrm>
            <a:prstGeom prst="rect">
              <a:avLst/>
            </a:prstGeom>
          </p:spPr>
        </p:pic>
        <p:pic>
          <p:nvPicPr>
            <p:cNvPr id="9" name="object 9"/>
            <p:cNvPicPr/>
            <p:nvPr/>
          </p:nvPicPr>
          <p:blipFill>
            <a:blip r:embed="rId5" cstate="print"/>
            <a:stretch>
              <a:fillRect/>
            </a:stretch>
          </p:blipFill>
          <p:spPr>
            <a:xfrm>
              <a:off x="2187999" y="3011003"/>
              <a:ext cx="204292" cy="207739"/>
            </a:xfrm>
            <a:prstGeom prst="rect">
              <a:avLst/>
            </a:prstGeom>
          </p:spPr>
        </p:pic>
        <p:pic>
          <p:nvPicPr>
            <p:cNvPr id="10" name="object 10"/>
            <p:cNvPicPr/>
            <p:nvPr/>
          </p:nvPicPr>
          <p:blipFill>
            <a:blip r:embed="rId6" cstate="print"/>
            <a:stretch>
              <a:fillRect/>
            </a:stretch>
          </p:blipFill>
          <p:spPr>
            <a:xfrm>
              <a:off x="3284135" y="2990687"/>
              <a:ext cx="215744" cy="215774"/>
            </a:xfrm>
            <a:prstGeom prst="rect">
              <a:avLst/>
            </a:prstGeom>
          </p:spPr>
        </p:pic>
        <p:pic>
          <p:nvPicPr>
            <p:cNvPr id="11" name="object 11"/>
            <p:cNvPicPr/>
            <p:nvPr/>
          </p:nvPicPr>
          <p:blipFill>
            <a:blip r:embed="rId7" cstate="print"/>
            <a:stretch>
              <a:fillRect/>
            </a:stretch>
          </p:blipFill>
          <p:spPr>
            <a:xfrm>
              <a:off x="6060007" y="2990687"/>
              <a:ext cx="224450" cy="224481"/>
            </a:xfrm>
            <a:prstGeom prst="rect">
              <a:avLst/>
            </a:prstGeom>
          </p:spPr>
        </p:pic>
        <p:sp>
          <p:nvSpPr>
            <p:cNvPr id="12" name="object 12"/>
            <p:cNvSpPr/>
            <p:nvPr/>
          </p:nvSpPr>
          <p:spPr>
            <a:xfrm>
              <a:off x="3640249" y="1193011"/>
              <a:ext cx="1642745" cy="1777364"/>
            </a:xfrm>
            <a:custGeom>
              <a:avLst/>
              <a:gdLst/>
              <a:ahLst/>
              <a:cxnLst/>
              <a:rect l="l" t="t" r="r" b="b"/>
              <a:pathLst>
                <a:path w="1642745" h="1777364">
                  <a:moveTo>
                    <a:pt x="821753" y="1777212"/>
                  </a:moveTo>
                  <a:lnTo>
                    <a:pt x="671561" y="1533519"/>
                  </a:lnTo>
                  <a:lnTo>
                    <a:pt x="624249" y="1523915"/>
                  </a:lnTo>
                  <a:lnTo>
                    <a:pt x="577996" y="1511802"/>
                  </a:lnTo>
                  <a:lnTo>
                    <a:pt x="532886" y="1497262"/>
                  </a:lnTo>
                  <a:lnTo>
                    <a:pt x="489004" y="1480374"/>
                  </a:lnTo>
                  <a:lnTo>
                    <a:pt x="446435" y="1461218"/>
                  </a:lnTo>
                  <a:lnTo>
                    <a:pt x="405264" y="1439875"/>
                  </a:lnTo>
                  <a:lnTo>
                    <a:pt x="365575" y="1416423"/>
                  </a:lnTo>
                  <a:lnTo>
                    <a:pt x="327454" y="1390943"/>
                  </a:lnTo>
                  <a:lnTo>
                    <a:pt x="290985" y="1363516"/>
                  </a:lnTo>
                  <a:lnTo>
                    <a:pt x="256254" y="1334220"/>
                  </a:lnTo>
                  <a:lnTo>
                    <a:pt x="223346" y="1303136"/>
                  </a:lnTo>
                  <a:lnTo>
                    <a:pt x="192344" y="1270344"/>
                  </a:lnTo>
                  <a:lnTo>
                    <a:pt x="163335" y="1235923"/>
                  </a:lnTo>
                  <a:lnTo>
                    <a:pt x="136402" y="1199955"/>
                  </a:lnTo>
                  <a:lnTo>
                    <a:pt x="111632" y="1162518"/>
                  </a:lnTo>
                  <a:lnTo>
                    <a:pt x="89109" y="1123693"/>
                  </a:lnTo>
                  <a:lnTo>
                    <a:pt x="68917" y="1083560"/>
                  </a:lnTo>
                  <a:lnTo>
                    <a:pt x="51142" y="1042198"/>
                  </a:lnTo>
                  <a:lnTo>
                    <a:pt x="35869" y="999688"/>
                  </a:lnTo>
                  <a:lnTo>
                    <a:pt x="23183" y="956109"/>
                  </a:lnTo>
                  <a:lnTo>
                    <a:pt x="13167" y="911542"/>
                  </a:lnTo>
                  <a:lnTo>
                    <a:pt x="5908" y="866066"/>
                  </a:lnTo>
                  <a:lnTo>
                    <a:pt x="1491" y="819762"/>
                  </a:lnTo>
                  <a:lnTo>
                    <a:pt x="0" y="772709"/>
                  </a:lnTo>
                  <a:lnTo>
                    <a:pt x="1497" y="725637"/>
                  </a:lnTo>
                  <a:lnTo>
                    <a:pt x="5932" y="679311"/>
                  </a:lnTo>
                  <a:lnTo>
                    <a:pt x="13219" y="633811"/>
                  </a:lnTo>
                  <a:lnTo>
                    <a:pt x="23274" y="589220"/>
                  </a:lnTo>
                  <a:lnTo>
                    <a:pt x="36009" y="545616"/>
                  </a:lnTo>
                  <a:lnTo>
                    <a:pt x="51341" y="503082"/>
                  </a:lnTo>
                  <a:lnTo>
                    <a:pt x="69184" y="461698"/>
                  </a:lnTo>
                  <a:lnTo>
                    <a:pt x="89452" y="421545"/>
                  </a:lnTo>
                  <a:lnTo>
                    <a:pt x="112059" y="382704"/>
                  </a:lnTo>
                  <a:lnTo>
                    <a:pt x="136921" y="345255"/>
                  </a:lnTo>
                  <a:lnTo>
                    <a:pt x="163953" y="309280"/>
                  </a:lnTo>
                  <a:lnTo>
                    <a:pt x="193068" y="274859"/>
                  </a:lnTo>
                  <a:lnTo>
                    <a:pt x="224181" y="242072"/>
                  </a:lnTo>
                  <a:lnTo>
                    <a:pt x="257207" y="211002"/>
                  </a:lnTo>
                  <a:lnTo>
                    <a:pt x="292060" y="181728"/>
                  </a:lnTo>
                  <a:lnTo>
                    <a:pt x="328656" y="154332"/>
                  </a:lnTo>
                  <a:lnTo>
                    <a:pt x="366908" y="128894"/>
                  </a:lnTo>
                  <a:lnTo>
                    <a:pt x="406731" y="105495"/>
                  </a:lnTo>
                  <a:lnTo>
                    <a:pt x="448040" y="84216"/>
                  </a:lnTo>
                  <a:lnTo>
                    <a:pt x="490750" y="65138"/>
                  </a:lnTo>
                  <a:lnTo>
                    <a:pt x="534774" y="48341"/>
                  </a:lnTo>
                  <a:lnTo>
                    <a:pt x="580028" y="33907"/>
                  </a:lnTo>
                  <a:lnTo>
                    <a:pt x="626427" y="21916"/>
                  </a:lnTo>
                  <a:lnTo>
                    <a:pt x="673884" y="12449"/>
                  </a:lnTo>
                  <a:lnTo>
                    <a:pt x="722314" y="5586"/>
                  </a:lnTo>
                  <a:lnTo>
                    <a:pt x="771633" y="1410"/>
                  </a:lnTo>
                  <a:lnTo>
                    <a:pt x="821753" y="0"/>
                  </a:lnTo>
                  <a:lnTo>
                    <a:pt x="871738" y="1410"/>
                  </a:lnTo>
                  <a:lnTo>
                    <a:pt x="920930" y="5586"/>
                  </a:lnTo>
                  <a:lnTo>
                    <a:pt x="969245" y="12449"/>
                  </a:lnTo>
                  <a:lnTo>
                    <a:pt x="1016596" y="21916"/>
                  </a:lnTo>
                  <a:lnTo>
                    <a:pt x="1062897" y="33907"/>
                  </a:lnTo>
                  <a:lnTo>
                    <a:pt x="1108062" y="48341"/>
                  </a:lnTo>
                  <a:lnTo>
                    <a:pt x="1152007" y="65138"/>
                  </a:lnTo>
                  <a:lnTo>
                    <a:pt x="1194644" y="84216"/>
                  </a:lnTo>
                  <a:lnTo>
                    <a:pt x="1235888" y="105495"/>
                  </a:lnTo>
                  <a:lnTo>
                    <a:pt x="1275654" y="128894"/>
                  </a:lnTo>
                  <a:lnTo>
                    <a:pt x="1313855" y="154332"/>
                  </a:lnTo>
                  <a:lnTo>
                    <a:pt x="1350406" y="181728"/>
                  </a:lnTo>
                  <a:lnTo>
                    <a:pt x="1385221" y="211002"/>
                  </a:lnTo>
                  <a:lnTo>
                    <a:pt x="1418214" y="242072"/>
                  </a:lnTo>
                  <a:lnTo>
                    <a:pt x="1449299" y="274859"/>
                  </a:lnTo>
                  <a:lnTo>
                    <a:pt x="1478390" y="309280"/>
                  </a:lnTo>
                  <a:lnTo>
                    <a:pt x="1505402" y="345255"/>
                  </a:lnTo>
                  <a:lnTo>
                    <a:pt x="1530249" y="382704"/>
                  </a:lnTo>
                  <a:lnTo>
                    <a:pt x="1552844" y="421545"/>
                  </a:lnTo>
                  <a:lnTo>
                    <a:pt x="1573103" y="461698"/>
                  </a:lnTo>
                  <a:lnTo>
                    <a:pt x="1590939" y="503082"/>
                  </a:lnTo>
                  <a:lnTo>
                    <a:pt x="1606266" y="545616"/>
                  </a:lnTo>
                  <a:lnTo>
                    <a:pt x="1618999" y="589220"/>
                  </a:lnTo>
                  <a:lnTo>
                    <a:pt x="1629052" y="633811"/>
                  </a:lnTo>
                  <a:lnTo>
                    <a:pt x="1636339" y="679311"/>
                  </a:lnTo>
                  <a:lnTo>
                    <a:pt x="1640774" y="725637"/>
                  </a:lnTo>
                  <a:lnTo>
                    <a:pt x="1642271" y="772709"/>
                  </a:lnTo>
                  <a:lnTo>
                    <a:pt x="1640780" y="819762"/>
                  </a:lnTo>
                  <a:lnTo>
                    <a:pt x="1636363" y="866066"/>
                  </a:lnTo>
                  <a:lnTo>
                    <a:pt x="1629104" y="911542"/>
                  </a:lnTo>
                  <a:lnTo>
                    <a:pt x="1619088" y="956109"/>
                  </a:lnTo>
                  <a:lnTo>
                    <a:pt x="1606402" y="999688"/>
                  </a:lnTo>
                  <a:lnTo>
                    <a:pt x="1591129" y="1042198"/>
                  </a:lnTo>
                  <a:lnTo>
                    <a:pt x="1573354" y="1083560"/>
                  </a:lnTo>
                  <a:lnTo>
                    <a:pt x="1553162" y="1123693"/>
                  </a:lnTo>
                  <a:lnTo>
                    <a:pt x="1530639" y="1162518"/>
                  </a:lnTo>
                  <a:lnTo>
                    <a:pt x="1505869" y="1199955"/>
                  </a:lnTo>
                  <a:lnTo>
                    <a:pt x="1478936" y="1235923"/>
                  </a:lnTo>
                  <a:lnTo>
                    <a:pt x="1449927" y="1270344"/>
                  </a:lnTo>
                  <a:lnTo>
                    <a:pt x="1418925" y="1303136"/>
                  </a:lnTo>
                  <a:lnTo>
                    <a:pt x="1386017" y="1334220"/>
                  </a:lnTo>
                  <a:lnTo>
                    <a:pt x="1351286" y="1363516"/>
                  </a:lnTo>
                  <a:lnTo>
                    <a:pt x="1314817" y="1390943"/>
                  </a:lnTo>
                  <a:lnTo>
                    <a:pt x="1276696" y="1416423"/>
                  </a:lnTo>
                  <a:lnTo>
                    <a:pt x="1237007" y="1439875"/>
                  </a:lnTo>
                  <a:lnTo>
                    <a:pt x="1195836" y="1461218"/>
                  </a:lnTo>
                  <a:lnTo>
                    <a:pt x="1153267" y="1480374"/>
                  </a:lnTo>
                  <a:lnTo>
                    <a:pt x="1109384" y="1497262"/>
                  </a:lnTo>
                  <a:lnTo>
                    <a:pt x="1064274" y="1511802"/>
                  </a:lnTo>
                  <a:lnTo>
                    <a:pt x="1018021" y="1523915"/>
                  </a:lnTo>
                  <a:lnTo>
                    <a:pt x="970710" y="1533519"/>
                  </a:lnTo>
                  <a:lnTo>
                    <a:pt x="821753" y="1777212"/>
                  </a:lnTo>
                  <a:close/>
                </a:path>
              </a:pathLst>
            </a:custGeom>
            <a:solidFill>
              <a:srgbClr val="EEEEEE"/>
            </a:solidFill>
          </p:spPr>
          <p:txBody>
            <a:bodyPr wrap="square" lIns="0" tIns="0" rIns="0" bIns="0" rtlCol="0"/>
            <a:lstStyle/>
            <a:p>
              <a:endParaRPr/>
            </a:p>
          </p:txBody>
        </p:sp>
        <p:sp>
          <p:nvSpPr>
            <p:cNvPr id="13" name="object 13"/>
            <p:cNvSpPr/>
            <p:nvPr/>
          </p:nvSpPr>
          <p:spPr>
            <a:xfrm>
              <a:off x="3806870" y="1349928"/>
              <a:ext cx="1309370" cy="1233170"/>
            </a:xfrm>
            <a:custGeom>
              <a:avLst/>
              <a:gdLst/>
              <a:ahLst/>
              <a:cxnLst/>
              <a:rect l="l" t="t" r="r" b="b"/>
              <a:pathLst>
                <a:path w="1309370" h="1233170">
                  <a:moveTo>
                    <a:pt x="655138" y="1232768"/>
                  </a:moveTo>
                  <a:lnTo>
                    <a:pt x="606187" y="1231072"/>
                  </a:lnTo>
                  <a:lnTo>
                    <a:pt x="558222" y="1226062"/>
                  </a:lnTo>
                  <a:lnTo>
                    <a:pt x="511370" y="1217859"/>
                  </a:lnTo>
                  <a:lnTo>
                    <a:pt x="465756" y="1206585"/>
                  </a:lnTo>
                  <a:lnTo>
                    <a:pt x="421507" y="1192359"/>
                  </a:lnTo>
                  <a:lnTo>
                    <a:pt x="378748" y="1175302"/>
                  </a:lnTo>
                  <a:lnTo>
                    <a:pt x="337604" y="1155535"/>
                  </a:lnTo>
                  <a:lnTo>
                    <a:pt x="298203" y="1133179"/>
                  </a:lnTo>
                  <a:lnTo>
                    <a:pt x="260670" y="1108353"/>
                  </a:lnTo>
                  <a:lnTo>
                    <a:pt x="225131" y="1081179"/>
                  </a:lnTo>
                  <a:lnTo>
                    <a:pt x="191711" y="1051777"/>
                  </a:lnTo>
                  <a:lnTo>
                    <a:pt x="160537" y="1020267"/>
                  </a:lnTo>
                  <a:lnTo>
                    <a:pt x="131734" y="986771"/>
                  </a:lnTo>
                  <a:lnTo>
                    <a:pt x="105429" y="951409"/>
                  </a:lnTo>
                  <a:lnTo>
                    <a:pt x="81747" y="914302"/>
                  </a:lnTo>
                  <a:lnTo>
                    <a:pt x="60814" y="875569"/>
                  </a:lnTo>
                  <a:lnTo>
                    <a:pt x="42757" y="835332"/>
                  </a:lnTo>
                  <a:lnTo>
                    <a:pt x="27700" y="793711"/>
                  </a:lnTo>
                  <a:lnTo>
                    <a:pt x="15770" y="750827"/>
                  </a:lnTo>
                  <a:lnTo>
                    <a:pt x="7092" y="706801"/>
                  </a:lnTo>
                  <a:lnTo>
                    <a:pt x="1794" y="661752"/>
                  </a:lnTo>
                  <a:lnTo>
                    <a:pt x="0" y="615802"/>
                  </a:lnTo>
                  <a:lnTo>
                    <a:pt x="1794" y="569859"/>
                  </a:lnTo>
                  <a:lnTo>
                    <a:pt x="7092" y="524831"/>
                  </a:lnTo>
                  <a:lnTo>
                    <a:pt x="15770" y="480836"/>
                  </a:lnTo>
                  <a:lnTo>
                    <a:pt x="27700" y="437994"/>
                  </a:lnTo>
                  <a:lnTo>
                    <a:pt x="42757" y="396425"/>
                  </a:lnTo>
                  <a:lnTo>
                    <a:pt x="60814" y="356248"/>
                  </a:lnTo>
                  <a:lnTo>
                    <a:pt x="81747" y="317581"/>
                  </a:lnTo>
                  <a:lnTo>
                    <a:pt x="105429" y="280545"/>
                  </a:lnTo>
                  <a:lnTo>
                    <a:pt x="131734" y="245258"/>
                  </a:lnTo>
                  <a:lnTo>
                    <a:pt x="160537" y="211840"/>
                  </a:lnTo>
                  <a:lnTo>
                    <a:pt x="191711" y="180409"/>
                  </a:lnTo>
                  <a:lnTo>
                    <a:pt x="225131" y="151087"/>
                  </a:lnTo>
                  <a:lnTo>
                    <a:pt x="260670" y="123990"/>
                  </a:lnTo>
                  <a:lnTo>
                    <a:pt x="298203" y="99240"/>
                  </a:lnTo>
                  <a:lnTo>
                    <a:pt x="337604" y="76954"/>
                  </a:lnTo>
                  <a:lnTo>
                    <a:pt x="378748" y="57253"/>
                  </a:lnTo>
                  <a:lnTo>
                    <a:pt x="421507" y="40256"/>
                  </a:lnTo>
                  <a:lnTo>
                    <a:pt x="465756" y="26082"/>
                  </a:lnTo>
                  <a:lnTo>
                    <a:pt x="511370" y="14850"/>
                  </a:lnTo>
                  <a:lnTo>
                    <a:pt x="558222" y="6679"/>
                  </a:lnTo>
                  <a:lnTo>
                    <a:pt x="606187" y="1689"/>
                  </a:lnTo>
                  <a:lnTo>
                    <a:pt x="655138" y="0"/>
                  </a:lnTo>
                  <a:lnTo>
                    <a:pt x="703929" y="1689"/>
                  </a:lnTo>
                  <a:lnTo>
                    <a:pt x="751748" y="6679"/>
                  </a:lnTo>
                  <a:lnTo>
                    <a:pt x="798467" y="14850"/>
                  </a:lnTo>
                  <a:lnTo>
                    <a:pt x="843962" y="26082"/>
                  </a:lnTo>
                  <a:lnTo>
                    <a:pt x="888105" y="40256"/>
                  </a:lnTo>
                  <a:lnTo>
                    <a:pt x="930769" y="57253"/>
                  </a:lnTo>
                  <a:lnTo>
                    <a:pt x="971829" y="76954"/>
                  </a:lnTo>
                  <a:lnTo>
                    <a:pt x="1011156" y="99240"/>
                  </a:lnTo>
                  <a:lnTo>
                    <a:pt x="1048626" y="123990"/>
                  </a:lnTo>
                  <a:lnTo>
                    <a:pt x="1084111" y="151087"/>
                  </a:lnTo>
                  <a:lnTo>
                    <a:pt x="1117485" y="180409"/>
                  </a:lnTo>
                  <a:lnTo>
                    <a:pt x="1148620" y="211840"/>
                  </a:lnTo>
                  <a:lnTo>
                    <a:pt x="1177391" y="245258"/>
                  </a:lnTo>
                  <a:lnTo>
                    <a:pt x="1203671" y="280545"/>
                  </a:lnTo>
                  <a:lnTo>
                    <a:pt x="1227334" y="317581"/>
                  </a:lnTo>
                  <a:lnTo>
                    <a:pt x="1248252" y="356248"/>
                  </a:lnTo>
                  <a:lnTo>
                    <a:pt x="1266299" y="396425"/>
                  </a:lnTo>
                  <a:lnTo>
                    <a:pt x="1281349" y="437994"/>
                  </a:lnTo>
                  <a:lnTo>
                    <a:pt x="1293275" y="480836"/>
                  </a:lnTo>
                  <a:lnTo>
                    <a:pt x="1301950" y="524831"/>
                  </a:lnTo>
                  <a:lnTo>
                    <a:pt x="1307248" y="569859"/>
                  </a:lnTo>
                  <a:lnTo>
                    <a:pt x="1309042" y="615802"/>
                  </a:lnTo>
                  <a:lnTo>
                    <a:pt x="1307248" y="661752"/>
                  </a:lnTo>
                  <a:lnTo>
                    <a:pt x="1301950" y="706801"/>
                  </a:lnTo>
                  <a:lnTo>
                    <a:pt x="1293275" y="750827"/>
                  </a:lnTo>
                  <a:lnTo>
                    <a:pt x="1281349" y="793711"/>
                  </a:lnTo>
                  <a:lnTo>
                    <a:pt x="1266299" y="835332"/>
                  </a:lnTo>
                  <a:lnTo>
                    <a:pt x="1248252" y="875569"/>
                  </a:lnTo>
                  <a:lnTo>
                    <a:pt x="1227334" y="914302"/>
                  </a:lnTo>
                  <a:lnTo>
                    <a:pt x="1203671" y="951409"/>
                  </a:lnTo>
                  <a:lnTo>
                    <a:pt x="1177391" y="986771"/>
                  </a:lnTo>
                  <a:lnTo>
                    <a:pt x="1148620" y="1020267"/>
                  </a:lnTo>
                  <a:lnTo>
                    <a:pt x="1117485" y="1051777"/>
                  </a:lnTo>
                  <a:lnTo>
                    <a:pt x="1084111" y="1081179"/>
                  </a:lnTo>
                  <a:lnTo>
                    <a:pt x="1048626" y="1108353"/>
                  </a:lnTo>
                  <a:lnTo>
                    <a:pt x="1011156" y="1133179"/>
                  </a:lnTo>
                  <a:lnTo>
                    <a:pt x="971829" y="1155535"/>
                  </a:lnTo>
                  <a:lnTo>
                    <a:pt x="930769" y="1175302"/>
                  </a:lnTo>
                  <a:lnTo>
                    <a:pt x="888105" y="1192359"/>
                  </a:lnTo>
                  <a:lnTo>
                    <a:pt x="843962" y="1206585"/>
                  </a:lnTo>
                  <a:lnTo>
                    <a:pt x="798467" y="1217859"/>
                  </a:lnTo>
                  <a:lnTo>
                    <a:pt x="751748" y="1226062"/>
                  </a:lnTo>
                  <a:lnTo>
                    <a:pt x="703929" y="1231072"/>
                  </a:lnTo>
                  <a:lnTo>
                    <a:pt x="655138" y="1232768"/>
                  </a:lnTo>
                  <a:close/>
                </a:path>
              </a:pathLst>
            </a:custGeom>
            <a:solidFill>
              <a:srgbClr val="F1A365"/>
            </a:solidFill>
          </p:spPr>
          <p:txBody>
            <a:bodyPr wrap="square" lIns="0" tIns="0" rIns="0" bIns="0" rtlCol="0"/>
            <a:lstStyle/>
            <a:p>
              <a:endParaRPr/>
            </a:p>
          </p:txBody>
        </p:sp>
        <p:pic>
          <p:nvPicPr>
            <p:cNvPr id="14" name="object 14"/>
            <p:cNvPicPr/>
            <p:nvPr/>
          </p:nvPicPr>
          <p:blipFill>
            <a:blip r:embed="rId8" cstate="print"/>
            <a:stretch>
              <a:fillRect/>
            </a:stretch>
          </p:blipFill>
          <p:spPr>
            <a:xfrm>
              <a:off x="4353371" y="2999394"/>
              <a:ext cx="200285" cy="200285"/>
            </a:xfrm>
            <a:prstGeom prst="rect">
              <a:avLst/>
            </a:prstGeom>
          </p:spPr>
        </p:pic>
      </p:grpSp>
      <p:pic>
        <p:nvPicPr>
          <p:cNvPr id="15" name="object 15"/>
          <p:cNvPicPr/>
          <p:nvPr/>
        </p:nvPicPr>
        <p:blipFill>
          <a:blip r:embed="rId9" cstate="print"/>
          <a:stretch>
            <a:fillRect/>
          </a:stretch>
        </p:blipFill>
        <p:spPr>
          <a:xfrm>
            <a:off x="1240062" y="3237055"/>
            <a:ext cx="70631" cy="71578"/>
          </a:xfrm>
          <a:prstGeom prst="rect">
            <a:avLst/>
          </a:prstGeom>
        </p:spPr>
      </p:pic>
      <p:pic>
        <p:nvPicPr>
          <p:cNvPr id="16" name="object 16"/>
          <p:cNvPicPr/>
          <p:nvPr/>
        </p:nvPicPr>
        <p:blipFill>
          <a:blip r:embed="rId10" cstate="print"/>
          <a:stretch>
            <a:fillRect/>
          </a:stretch>
        </p:blipFill>
        <p:spPr>
          <a:xfrm>
            <a:off x="1240062" y="3395732"/>
            <a:ext cx="70631" cy="70600"/>
          </a:xfrm>
          <a:prstGeom prst="rect">
            <a:avLst/>
          </a:prstGeom>
        </p:spPr>
      </p:pic>
      <p:pic>
        <p:nvPicPr>
          <p:cNvPr id="17" name="object 17"/>
          <p:cNvPicPr/>
          <p:nvPr/>
        </p:nvPicPr>
        <p:blipFill>
          <a:blip r:embed="rId11" cstate="print"/>
          <a:stretch>
            <a:fillRect/>
          </a:stretch>
        </p:blipFill>
        <p:spPr>
          <a:xfrm>
            <a:off x="1240062" y="3553431"/>
            <a:ext cx="70631" cy="71578"/>
          </a:xfrm>
          <a:prstGeom prst="rect">
            <a:avLst/>
          </a:prstGeom>
        </p:spPr>
      </p:pic>
      <p:pic>
        <p:nvPicPr>
          <p:cNvPr id="18" name="object 18"/>
          <p:cNvPicPr/>
          <p:nvPr/>
        </p:nvPicPr>
        <p:blipFill>
          <a:blip r:embed="rId12" cstate="print"/>
          <a:stretch>
            <a:fillRect/>
          </a:stretch>
        </p:blipFill>
        <p:spPr>
          <a:xfrm>
            <a:off x="1240062" y="3712077"/>
            <a:ext cx="70631" cy="70631"/>
          </a:xfrm>
          <a:prstGeom prst="rect">
            <a:avLst/>
          </a:prstGeom>
        </p:spPr>
      </p:pic>
      <p:pic>
        <p:nvPicPr>
          <p:cNvPr id="19" name="object 19"/>
          <p:cNvPicPr/>
          <p:nvPr/>
        </p:nvPicPr>
        <p:blipFill>
          <a:blip r:embed="rId13" cstate="print"/>
          <a:stretch>
            <a:fillRect/>
          </a:stretch>
        </p:blipFill>
        <p:spPr>
          <a:xfrm>
            <a:off x="2233985" y="2132213"/>
            <a:ext cx="70631" cy="71578"/>
          </a:xfrm>
          <a:prstGeom prst="rect">
            <a:avLst/>
          </a:prstGeom>
        </p:spPr>
      </p:pic>
      <p:pic>
        <p:nvPicPr>
          <p:cNvPr id="20" name="object 20"/>
          <p:cNvPicPr/>
          <p:nvPr/>
        </p:nvPicPr>
        <p:blipFill>
          <a:blip r:embed="rId14" cstate="print"/>
          <a:stretch>
            <a:fillRect/>
          </a:stretch>
        </p:blipFill>
        <p:spPr>
          <a:xfrm>
            <a:off x="2233985" y="2290859"/>
            <a:ext cx="70631" cy="70631"/>
          </a:xfrm>
          <a:prstGeom prst="rect">
            <a:avLst/>
          </a:prstGeom>
        </p:spPr>
      </p:pic>
      <p:pic>
        <p:nvPicPr>
          <p:cNvPr id="21" name="object 21"/>
          <p:cNvPicPr/>
          <p:nvPr/>
        </p:nvPicPr>
        <p:blipFill>
          <a:blip r:embed="rId15" cstate="print"/>
          <a:stretch>
            <a:fillRect/>
          </a:stretch>
        </p:blipFill>
        <p:spPr>
          <a:xfrm>
            <a:off x="2233985" y="2448558"/>
            <a:ext cx="70631" cy="71609"/>
          </a:xfrm>
          <a:prstGeom prst="rect">
            <a:avLst/>
          </a:prstGeom>
        </p:spPr>
      </p:pic>
      <p:pic>
        <p:nvPicPr>
          <p:cNvPr id="22" name="object 22"/>
          <p:cNvPicPr/>
          <p:nvPr/>
        </p:nvPicPr>
        <p:blipFill>
          <a:blip r:embed="rId16" cstate="print"/>
          <a:stretch>
            <a:fillRect/>
          </a:stretch>
        </p:blipFill>
        <p:spPr>
          <a:xfrm>
            <a:off x="2233985" y="2607235"/>
            <a:ext cx="70631" cy="70631"/>
          </a:xfrm>
          <a:prstGeom prst="rect">
            <a:avLst/>
          </a:prstGeom>
        </p:spPr>
      </p:pic>
      <p:pic>
        <p:nvPicPr>
          <p:cNvPr id="23" name="object 23"/>
          <p:cNvPicPr/>
          <p:nvPr/>
        </p:nvPicPr>
        <p:blipFill>
          <a:blip r:embed="rId17" cstate="print"/>
          <a:stretch>
            <a:fillRect/>
          </a:stretch>
        </p:blipFill>
        <p:spPr>
          <a:xfrm>
            <a:off x="3299133" y="3237055"/>
            <a:ext cx="71609" cy="71578"/>
          </a:xfrm>
          <a:prstGeom prst="rect">
            <a:avLst/>
          </a:prstGeom>
        </p:spPr>
      </p:pic>
      <p:pic>
        <p:nvPicPr>
          <p:cNvPr id="24" name="object 24"/>
          <p:cNvPicPr/>
          <p:nvPr/>
        </p:nvPicPr>
        <p:blipFill>
          <a:blip r:embed="rId18" cstate="print"/>
          <a:stretch>
            <a:fillRect/>
          </a:stretch>
        </p:blipFill>
        <p:spPr>
          <a:xfrm>
            <a:off x="3299133" y="3395732"/>
            <a:ext cx="71609" cy="70600"/>
          </a:xfrm>
          <a:prstGeom prst="rect">
            <a:avLst/>
          </a:prstGeom>
        </p:spPr>
      </p:pic>
      <p:pic>
        <p:nvPicPr>
          <p:cNvPr id="25" name="object 25"/>
          <p:cNvPicPr/>
          <p:nvPr/>
        </p:nvPicPr>
        <p:blipFill>
          <a:blip r:embed="rId19" cstate="print"/>
          <a:stretch>
            <a:fillRect/>
          </a:stretch>
        </p:blipFill>
        <p:spPr>
          <a:xfrm>
            <a:off x="6073050" y="2249487"/>
            <a:ext cx="70631" cy="71578"/>
          </a:xfrm>
          <a:prstGeom prst="rect">
            <a:avLst/>
          </a:prstGeom>
        </p:spPr>
      </p:pic>
      <p:pic>
        <p:nvPicPr>
          <p:cNvPr id="26" name="object 26"/>
          <p:cNvPicPr/>
          <p:nvPr/>
        </p:nvPicPr>
        <p:blipFill>
          <a:blip r:embed="rId20" cstate="print"/>
          <a:stretch>
            <a:fillRect/>
          </a:stretch>
        </p:blipFill>
        <p:spPr>
          <a:xfrm>
            <a:off x="6073050" y="2408134"/>
            <a:ext cx="70631" cy="70631"/>
          </a:xfrm>
          <a:prstGeom prst="rect">
            <a:avLst/>
          </a:prstGeom>
        </p:spPr>
      </p:pic>
      <p:pic>
        <p:nvPicPr>
          <p:cNvPr id="27" name="object 27"/>
          <p:cNvPicPr/>
          <p:nvPr/>
        </p:nvPicPr>
        <p:blipFill>
          <a:blip r:embed="rId21" cstate="print"/>
          <a:stretch>
            <a:fillRect/>
          </a:stretch>
        </p:blipFill>
        <p:spPr>
          <a:xfrm>
            <a:off x="6073050" y="2565833"/>
            <a:ext cx="70631" cy="71609"/>
          </a:xfrm>
          <a:prstGeom prst="rect">
            <a:avLst/>
          </a:prstGeom>
        </p:spPr>
      </p:pic>
      <p:pic>
        <p:nvPicPr>
          <p:cNvPr id="28" name="object 28"/>
          <p:cNvPicPr/>
          <p:nvPr/>
        </p:nvPicPr>
        <p:blipFill>
          <a:blip r:embed="rId22" cstate="print"/>
          <a:stretch>
            <a:fillRect/>
          </a:stretch>
        </p:blipFill>
        <p:spPr>
          <a:xfrm>
            <a:off x="6073050" y="2724510"/>
            <a:ext cx="70631" cy="70631"/>
          </a:xfrm>
          <a:prstGeom prst="rect">
            <a:avLst/>
          </a:prstGeom>
        </p:spPr>
      </p:pic>
      <p:sp>
        <p:nvSpPr>
          <p:cNvPr id="29" name="object 29"/>
          <p:cNvSpPr/>
          <p:nvPr/>
        </p:nvSpPr>
        <p:spPr>
          <a:xfrm>
            <a:off x="1033373" y="3964211"/>
            <a:ext cx="501015" cy="123189"/>
          </a:xfrm>
          <a:custGeom>
            <a:avLst/>
            <a:gdLst/>
            <a:ahLst/>
            <a:cxnLst/>
            <a:rect l="l" t="t" r="r" b="b"/>
            <a:pathLst>
              <a:path w="501015" h="123189">
                <a:moveTo>
                  <a:pt x="88701" y="18603"/>
                </a:moveTo>
                <a:lnTo>
                  <a:pt x="0" y="18603"/>
                </a:lnTo>
                <a:lnTo>
                  <a:pt x="0" y="0"/>
                </a:lnTo>
                <a:lnTo>
                  <a:pt x="91231" y="0"/>
                </a:lnTo>
                <a:lnTo>
                  <a:pt x="88701" y="18603"/>
                </a:lnTo>
                <a:close/>
              </a:path>
              <a:path w="501015" h="123189">
                <a:moveTo>
                  <a:pt x="56703" y="122783"/>
                </a:moveTo>
                <a:lnTo>
                  <a:pt x="33039" y="122783"/>
                </a:lnTo>
                <a:lnTo>
                  <a:pt x="33039" y="18603"/>
                </a:lnTo>
                <a:lnTo>
                  <a:pt x="56703" y="18603"/>
                </a:lnTo>
                <a:lnTo>
                  <a:pt x="56703" y="122783"/>
                </a:lnTo>
                <a:close/>
              </a:path>
              <a:path w="501015" h="123189">
                <a:moveTo>
                  <a:pt x="129900" y="122783"/>
                </a:moveTo>
                <a:lnTo>
                  <a:pt x="106534" y="122783"/>
                </a:lnTo>
                <a:lnTo>
                  <a:pt x="106534" y="0"/>
                </a:lnTo>
                <a:lnTo>
                  <a:pt x="176036" y="0"/>
                </a:lnTo>
                <a:lnTo>
                  <a:pt x="173506" y="17412"/>
                </a:lnTo>
                <a:lnTo>
                  <a:pt x="129900" y="17412"/>
                </a:lnTo>
                <a:lnTo>
                  <a:pt x="129900" y="54173"/>
                </a:lnTo>
                <a:lnTo>
                  <a:pt x="167851" y="54173"/>
                </a:lnTo>
                <a:lnTo>
                  <a:pt x="167851" y="71586"/>
                </a:lnTo>
                <a:lnTo>
                  <a:pt x="129900" y="71586"/>
                </a:lnTo>
                <a:lnTo>
                  <a:pt x="129900" y="122783"/>
                </a:lnTo>
                <a:close/>
              </a:path>
              <a:path w="501015" h="123189">
                <a:moveTo>
                  <a:pt x="240169" y="76200"/>
                </a:moveTo>
                <a:lnTo>
                  <a:pt x="186443" y="76200"/>
                </a:lnTo>
                <a:lnTo>
                  <a:pt x="186443" y="58042"/>
                </a:lnTo>
                <a:lnTo>
                  <a:pt x="240169" y="58042"/>
                </a:lnTo>
                <a:lnTo>
                  <a:pt x="240169" y="76200"/>
                </a:lnTo>
                <a:close/>
              </a:path>
              <a:path w="501015" h="123189">
                <a:moveTo>
                  <a:pt x="286986" y="122783"/>
                </a:moveTo>
                <a:lnTo>
                  <a:pt x="263620" y="122783"/>
                </a:lnTo>
                <a:lnTo>
                  <a:pt x="263620" y="0"/>
                </a:lnTo>
                <a:lnTo>
                  <a:pt x="286986" y="0"/>
                </a:lnTo>
                <a:lnTo>
                  <a:pt x="286986" y="122783"/>
                </a:lnTo>
                <a:close/>
              </a:path>
              <a:path w="501015" h="123189">
                <a:moveTo>
                  <a:pt x="349202" y="122783"/>
                </a:moveTo>
                <a:lnTo>
                  <a:pt x="315864" y="122783"/>
                </a:lnTo>
                <a:lnTo>
                  <a:pt x="315864" y="0"/>
                </a:lnTo>
                <a:lnTo>
                  <a:pt x="346076" y="0"/>
                </a:lnTo>
                <a:lnTo>
                  <a:pt x="359648" y="809"/>
                </a:lnTo>
                <a:lnTo>
                  <a:pt x="371787" y="3237"/>
                </a:lnTo>
                <a:lnTo>
                  <a:pt x="382493" y="7283"/>
                </a:lnTo>
                <a:lnTo>
                  <a:pt x="391767" y="12948"/>
                </a:lnTo>
                <a:lnTo>
                  <a:pt x="396172" y="17561"/>
                </a:lnTo>
                <a:lnTo>
                  <a:pt x="339230" y="17561"/>
                </a:lnTo>
                <a:lnTo>
                  <a:pt x="339230" y="105221"/>
                </a:lnTo>
                <a:lnTo>
                  <a:pt x="395379" y="105221"/>
                </a:lnTo>
                <a:lnTo>
                  <a:pt x="392064" y="108942"/>
                </a:lnTo>
                <a:lnTo>
                  <a:pt x="383079" y="114997"/>
                </a:lnTo>
                <a:lnTo>
                  <a:pt x="372940" y="119322"/>
                </a:lnTo>
                <a:lnTo>
                  <a:pt x="361648" y="121918"/>
                </a:lnTo>
                <a:lnTo>
                  <a:pt x="349202" y="122783"/>
                </a:lnTo>
                <a:close/>
              </a:path>
              <a:path w="501015" h="123189">
                <a:moveTo>
                  <a:pt x="395379" y="105221"/>
                </a:moveTo>
                <a:lnTo>
                  <a:pt x="350839" y="105221"/>
                </a:lnTo>
                <a:lnTo>
                  <a:pt x="358225" y="104616"/>
                </a:lnTo>
                <a:lnTo>
                  <a:pt x="364754" y="102803"/>
                </a:lnTo>
                <a:lnTo>
                  <a:pt x="384176" y="60721"/>
                </a:lnTo>
                <a:lnTo>
                  <a:pt x="383897" y="52517"/>
                </a:lnTo>
                <a:lnTo>
                  <a:pt x="362844" y="18702"/>
                </a:lnTo>
                <a:lnTo>
                  <a:pt x="356941" y="17561"/>
                </a:lnTo>
                <a:lnTo>
                  <a:pt x="396172" y="17561"/>
                </a:lnTo>
                <a:lnTo>
                  <a:pt x="399255" y="20789"/>
                </a:lnTo>
                <a:lnTo>
                  <a:pt x="404603" y="31365"/>
                </a:lnTo>
                <a:lnTo>
                  <a:pt x="407812" y="44676"/>
                </a:lnTo>
                <a:lnTo>
                  <a:pt x="408882" y="60721"/>
                </a:lnTo>
                <a:lnTo>
                  <a:pt x="407831" y="76572"/>
                </a:lnTo>
                <a:lnTo>
                  <a:pt x="404678" y="89892"/>
                </a:lnTo>
                <a:lnTo>
                  <a:pt x="399422" y="100682"/>
                </a:lnTo>
                <a:lnTo>
                  <a:pt x="395379" y="105221"/>
                </a:lnTo>
                <a:close/>
              </a:path>
              <a:path w="501015" h="123189">
                <a:moveTo>
                  <a:pt x="454380" y="122783"/>
                </a:moveTo>
                <a:lnTo>
                  <a:pt x="431014" y="122783"/>
                </a:lnTo>
                <a:lnTo>
                  <a:pt x="431014" y="0"/>
                </a:lnTo>
                <a:lnTo>
                  <a:pt x="500517" y="0"/>
                </a:lnTo>
                <a:lnTo>
                  <a:pt x="497987" y="17412"/>
                </a:lnTo>
                <a:lnTo>
                  <a:pt x="454380" y="17412"/>
                </a:lnTo>
                <a:lnTo>
                  <a:pt x="454380" y="54173"/>
                </a:lnTo>
                <a:lnTo>
                  <a:pt x="492332" y="54173"/>
                </a:lnTo>
                <a:lnTo>
                  <a:pt x="492332" y="71586"/>
                </a:lnTo>
                <a:lnTo>
                  <a:pt x="454380" y="71586"/>
                </a:lnTo>
                <a:lnTo>
                  <a:pt x="454380" y="122783"/>
                </a:lnTo>
                <a:close/>
              </a:path>
            </a:pathLst>
          </a:custGeom>
          <a:solidFill>
            <a:srgbClr val="000000"/>
          </a:solidFill>
        </p:spPr>
        <p:txBody>
          <a:bodyPr wrap="square" lIns="0" tIns="0" rIns="0" bIns="0" rtlCol="0"/>
          <a:lstStyle/>
          <a:p>
            <a:endParaRPr/>
          </a:p>
        </p:txBody>
      </p:sp>
      <p:pic>
        <p:nvPicPr>
          <p:cNvPr id="30" name="object 30"/>
          <p:cNvPicPr/>
          <p:nvPr/>
        </p:nvPicPr>
        <p:blipFill>
          <a:blip r:embed="rId23" cstate="print"/>
          <a:stretch>
            <a:fillRect/>
          </a:stretch>
        </p:blipFill>
        <p:spPr>
          <a:xfrm>
            <a:off x="911384" y="4154860"/>
            <a:ext cx="754991" cy="144363"/>
          </a:xfrm>
          <a:prstGeom prst="rect">
            <a:avLst/>
          </a:prstGeom>
        </p:spPr>
      </p:pic>
      <p:sp>
        <p:nvSpPr>
          <p:cNvPr id="31" name="object 31"/>
          <p:cNvSpPr/>
          <p:nvPr/>
        </p:nvSpPr>
        <p:spPr>
          <a:xfrm>
            <a:off x="1935787" y="1603286"/>
            <a:ext cx="653415" cy="125730"/>
          </a:xfrm>
          <a:custGeom>
            <a:avLst/>
            <a:gdLst/>
            <a:ahLst/>
            <a:cxnLst/>
            <a:rect l="l" t="t" r="r" b="b"/>
            <a:pathLst>
              <a:path w="653414" h="125730">
                <a:moveTo>
                  <a:pt x="33337" y="122783"/>
                </a:moveTo>
                <a:lnTo>
                  <a:pt x="0" y="122783"/>
                </a:lnTo>
                <a:lnTo>
                  <a:pt x="0" y="0"/>
                </a:lnTo>
                <a:lnTo>
                  <a:pt x="30212" y="0"/>
                </a:lnTo>
                <a:lnTo>
                  <a:pt x="43783" y="809"/>
                </a:lnTo>
                <a:lnTo>
                  <a:pt x="55922" y="3237"/>
                </a:lnTo>
                <a:lnTo>
                  <a:pt x="66628" y="7283"/>
                </a:lnTo>
                <a:lnTo>
                  <a:pt x="75902" y="12948"/>
                </a:lnTo>
                <a:lnTo>
                  <a:pt x="80308" y="17561"/>
                </a:lnTo>
                <a:lnTo>
                  <a:pt x="23366" y="17561"/>
                </a:lnTo>
                <a:lnTo>
                  <a:pt x="23366" y="105221"/>
                </a:lnTo>
                <a:lnTo>
                  <a:pt x="79514" y="105221"/>
                </a:lnTo>
                <a:lnTo>
                  <a:pt x="76200" y="108942"/>
                </a:lnTo>
                <a:lnTo>
                  <a:pt x="67214" y="114997"/>
                </a:lnTo>
                <a:lnTo>
                  <a:pt x="57075" y="119322"/>
                </a:lnTo>
                <a:lnTo>
                  <a:pt x="45783" y="121918"/>
                </a:lnTo>
                <a:lnTo>
                  <a:pt x="33337" y="122783"/>
                </a:lnTo>
                <a:close/>
              </a:path>
              <a:path w="653414" h="125730">
                <a:moveTo>
                  <a:pt x="79514" y="105221"/>
                </a:moveTo>
                <a:lnTo>
                  <a:pt x="34974" y="105221"/>
                </a:lnTo>
                <a:lnTo>
                  <a:pt x="42360" y="104616"/>
                </a:lnTo>
                <a:lnTo>
                  <a:pt x="48890" y="102803"/>
                </a:lnTo>
                <a:lnTo>
                  <a:pt x="68312" y="60721"/>
                </a:lnTo>
                <a:lnTo>
                  <a:pt x="68033" y="52517"/>
                </a:lnTo>
                <a:lnTo>
                  <a:pt x="46980" y="18702"/>
                </a:lnTo>
                <a:lnTo>
                  <a:pt x="41076" y="17561"/>
                </a:lnTo>
                <a:lnTo>
                  <a:pt x="80308" y="17561"/>
                </a:lnTo>
                <a:lnTo>
                  <a:pt x="83390" y="20789"/>
                </a:lnTo>
                <a:lnTo>
                  <a:pt x="88738" y="31365"/>
                </a:lnTo>
                <a:lnTo>
                  <a:pt x="91947" y="44676"/>
                </a:lnTo>
                <a:lnTo>
                  <a:pt x="93017" y="60721"/>
                </a:lnTo>
                <a:lnTo>
                  <a:pt x="91966" y="76572"/>
                </a:lnTo>
                <a:lnTo>
                  <a:pt x="88813" y="89892"/>
                </a:lnTo>
                <a:lnTo>
                  <a:pt x="83557" y="100682"/>
                </a:lnTo>
                <a:lnTo>
                  <a:pt x="79514" y="105221"/>
                </a:lnTo>
                <a:close/>
              </a:path>
              <a:path w="653414" h="125730">
                <a:moveTo>
                  <a:pt x="161782" y="125462"/>
                </a:moveTo>
                <a:lnTo>
                  <a:pt x="152654" y="125462"/>
                </a:lnTo>
                <a:lnTo>
                  <a:pt x="142804" y="124634"/>
                </a:lnTo>
                <a:lnTo>
                  <a:pt x="111243" y="96477"/>
                </a:lnTo>
                <a:lnTo>
                  <a:pt x="108303" y="75753"/>
                </a:lnTo>
                <a:lnTo>
                  <a:pt x="108638" y="68544"/>
                </a:lnTo>
                <a:lnTo>
                  <a:pt x="135737" y="28128"/>
                </a:lnTo>
                <a:lnTo>
                  <a:pt x="143675" y="26044"/>
                </a:lnTo>
                <a:lnTo>
                  <a:pt x="152803" y="26044"/>
                </a:lnTo>
                <a:lnTo>
                  <a:pt x="188064" y="43308"/>
                </a:lnTo>
                <a:lnTo>
                  <a:pt x="152803" y="43308"/>
                </a:lnTo>
                <a:lnTo>
                  <a:pt x="143883" y="45336"/>
                </a:lnTo>
                <a:lnTo>
                  <a:pt x="137511" y="51420"/>
                </a:lnTo>
                <a:lnTo>
                  <a:pt x="133688" y="61559"/>
                </a:lnTo>
                <a:lnTo>
                  <a:pt x="132414" y="75753"/>
                </a:lnTo>
                <a:lnTo>
                  <a:pt x="132414" y="86866"/>
                </a:lnTo>
                <a:lnTo>
                  <a:pt x="134100" y="95051"/>
                </a:lnTo>
                <a:lnTo>
                  <a:pt x="140847" y="105568"/>
                </a:lnTo>
                <a:lnTo>
                  <a:pt x="145907" y="108198"/>
                </a:lnTo>
                <a:lnTo>
                  <a:pt x="188427" y="108198"/>
                </a:lnTo>
                <a:lnTo>
                  <a:pt x="187927" y="109239"/>
                </a:lnTo>
                <a:lnTo>
                  <a:pt x="182817" y="115044"/>
                </a:lnTo>
                <a:lnTo>
                  <a:pt x="169621" y="123378"/>
                </a:lnTo>
                <a:lnTo>
                  <a:pt x="161782" y="125462"/>
                </a:lnTo>
                <a:close/>
              </a:path>
              <a:path w="653414" h="125730">
                <a:moveTo>
                  <a:pt x="188427" y="108198"/>
                </a:moveTo>
                <a:lnTo>
                  <a:pt x="159401" y="108198"/>
                </a:lnTo>
                <a:lnTo>
                  <a:pt x="164461" y="105568"/>
                </a:lnTo>
                <a:lnTo>
                  <a:pt x="167835" y="100310"/>
                </a:lnTo>
                <a:lnTo>
                  <a:pt x="171208" y="94952"/>
                </a:lnTo>
                <a:lnTo>
                  <a:pt x="172874" y="86866"/>
                </a:lnTo>
                <a:lnTo>
                  <a:pt x="172895" y="64740"/>
                </a:lnTo>
                <a:lnTo>
                  <a:pt x="171208" y="56604"/>
                </a:lnTo>
                <a:lnTo>
                  <a:pt x="167835" y="51345"/>
                </a:lnTo>
                <a:lnTo>
                  <a:pt x="164461" y="45987"/>
                </a:lnTo>
                <a:lnTo>
                  <a:pt x="159451" y="43308"/>
                </a:lnTo>
                <a:lnTo>
                  <a:pt x="188064" y="43308"/>
                </a:lnTo>
                <a:lnTo>
                  <a:pt x="190326" y="46536"/>
                </a:lnTo>
                <a:lnTo>
                  <a:pt x="193954" y="55029"/>
                </a:lnTo>
                <a:lnTo>
                  <a:pt x="196131" y="64768"/>
                </a:lnTo>
                <a:lnTo>
                  <a:pt x="196856" y="75753"/>
                </a:lnTo>
                <a:lnTo>
                  <a:pt x="196521" y="82906"/>
                </a:lnTo>
                <a:lnTo>
                  <a:pt x="195517" y="89631"/>
                </a:lnTo>
                <a:lnTo>
                  <a:pt x="193842" y="95929"/>
                </a:lnTo>
                <a:lnTo>
                  <a:pt x="191498" y="101798"/>
                </a:lnTo>
                <a:lnTo>
                  <a:pt x="188427" y="108198"/>
                </a:lnTo>
                <a:close/>
              </a:path>
              <a:path w="653414" h="125730">
                <a:moveTo>
                  <a:pt x="256134" y="125462"/>
                </a:moveTo>
                <a:lnTo>
                  <a:pt x="247204" y="125462"/>
                </a:lnTo>
                <a:lnTo>
                  <a:pt x="239416" y="123477"/>
                </a:lnTo>
                <a:lnTo>
                  <a:pt x="213420" y="90561"/>
                </a:lnTo>
                <a:lnTo>
                  <a:pt x="212081" y="76646"/>
                </a:lnTo>
                <a:lnTo>
                  <a:pt x="212416" y="69353"/>
                </a:lnTo>
                <a:lnTo>
                  <a:pt x="232768" y="32444"/>
                </a:lnTo>
                <a:lnTo>
                  <a:pt x="239416" y="28178"/>
                </a:lnTo>
                <a:lnTo>
                  <a:pt x="247155" y="26044"/>
                </a:lnTo>
                <a:lnTo>
                  <a:pt x="262137" y="26044"/>
                </a:lnTo>
                <a:lnTo>
                  <a:pt x="267643" y="26937"/>
                </a:lnTo>
                <a:lnTo>
                  <a:pt x="277466" y="30509"/>
                </a:lnTo>
                <a:lnTo>
                  <a:pt x="282179" y="33287"/>
                </a:lnTo>
                <a:lnTo>
                  <a:pt x="286644" y="37058"/>
                </a:lnTo>
                <a:lnTo>
                  <a:pt x="281473" y="44053"/>
                </a:lnTo>
                <a:lnTo>
                  <a:pt x="257473" y="44053"/>
                </a:lnTo>
                <a:lnTo>
                  <a:pt x="248227" y="46062"/>
                </a:lnTo>
                <a:lnTo>
                  <a:pt x="241623" y="52089"/>
                </a:lnTo>
                <a:lnTo>
                  <a:pt x="237661" y="62135"/>
                </a:lnTo>
                <a:lnTo>
                  <a:pt x="236340" y="76200"/>
                </a:lnTo>
                <a:lnTo>
                  <a:pt x="236340" y="87114"/>
                </a:lnTo>
                <a:lnTo>
                  <a:pt x="238175" y="95001"/>
                </a:lnTo>
                <a:lnTo>
                  <a:pt x="241846" y="99863"/>
                </a:lnTo>
                <a:lnTo>
                  <a:pt x="245517" y="104626"/>
                </a:lnTo>
                <a:lnTo>
                  <a:pt x="250726" y="107007"/>
                </a:lnTo>
                <a:lnTo>
                  <a:pt x="281323" y="107007"/>
                </a:lnTo>
                <a:lnTo>
                  <a:pt x="286644" y="114597"/>
                </a:lnTo>
                <a:lnTo>
                  <a:pt x="279714" y="119350"/>
                </a:lnTo>
                <a:lnTo>
                  <a:pt x="272319" y="122745"/>
                </a:lnTo>
                <a:lnTo>
                  <a:pt x="264459" y="124783"/>
                </a:lnTo>
                <a:lnTo>
                  <a:pt x="256134" y="125462"/>
                </a:lnTo>
                <a:close/>
              </a:path>
              <a:path w="653414" h="125730">
                <a:moveTo>
                  <a:pt x="276523" y="50750"/>
                </a:moveTo>
                <a:lnTo>
                  <a:pt x="273249" y="48468"/>
                </a:lnTo>
                <a:lnTo>
                  <a:pt x="270124" y="46781"/>
                </a:lnTo>
                <a:lnTo>
                  <a:pt x="267147" y="45690"/>
                </a:lnTo>
                <a:lnTo>
                  <a:pt x="264270" y="44598"/>
                </a:lnTo>
                <a:lnTo>
                  <a:pt x="261045" y="44053"/>
                </a:lnTo>
                <a:lnTo>
                  <a:pt x="281473" y="44053"/>
                </a:lnTo>
                <a:lnTo>
                  <a:pt x="276523" y="50750"/>
                </a:lnTo>
                <a:close/>
              </a:path>
              <a:path w="653414" h="125730">
                <a:moveTo>
                  <a:pt x="281323" y="107007"/>
                </a:moveTo>
                <a:lnTo>
                  <a:pt x="260748" y="107007"/>
                </a:lnTo>
                <a:lnTo>
                  <a:pt x="263774" y="106461"/>
                </a:lnTo>
                <a:lnTo>
                  <a:pt x="269330" y="104278"/>
                </a:lnTo>
                <a:lnTo>
                  <a:pt x="272654" y="102542"/>
                </a:lnTo>
                <a:lnTo>
                  <a:pt x="276523" y="100161"/>
                </a:lnTo>
                <a:lnTo>
                  <a:pt x="281323" y="107007"/>
                </a:lnTo>
                <a:close/>
              </a:path>
              <a:path w="653414" h="125730">
                <a:moveTo>
                  <a:pt x="305951" y="31551"/>
                </a:moveTo>
                <a:lnTo>
                  <a:pt x="292110" y="20538"/>
                </a:lnTo>
                <a:lnTo>
                  <a:pt x="300166" y="12008"/>
                </a:lnTo>
                <a:lnTo>
                  <a:pt x="309300" y="5915"/>
                </a:lnTo>
                <a:lnTo>
                  <a:pt x="319513" y="2260"/>
                </a:lnTo>
                <a:lnTo>
                  <a:pt x="330806" y="1041"/>
                </a:lnTo>
                <a:lnTo>
                  <a:pt x="338842" y="1041"/>
                </a:lnTo>
                <a:lnTo>
                  <a:pt x="345788" y="2530"/>
                </a:lnTo>
                <a:lnTo>
                  <a:pt x="357595" y="8483"/>
                </a:lnTo>
                <a:lnTo>
                  <a:pt x="362109" y="12501"/>
                </a:lnTo>
                <a:lnTo>
                  <a:pt x="366090" y="19050"/>
                </a:lnTo>
                <a:lnTo>
                  <a:pt x="324456" y="19050"/>
                </a:lnTo>
                <a:lnTo>
                  <a:pt x="320388" y="20042"/>
                </a:lnTo>
                <a:lnTo>
                  <a:pt x="316816" y="22026"/>
                </a:lnTo>
                <a:lnTo>
                  <a:pt x="313343" y="23911"/>
                </a:lnTo>
                <a:lnTo>
                  <a:pt x="309722" y="27086"/>
                </a:lnTo>
                <a:lnTo>
                  <a:pt x="305951" y="31551"/>
                </a:lnTo>
                <a:close/>
              </a:path>
              <a:path w="653414" h="125730">
                <a:moveTo>
                  <a:pt x="369948" y="122783"/>
                </a:moveTo>
                <a:lnTo>
                  <a:pt x="295534" y="122783"/>
                </a:lnTo>
                <a:lnTo>
                  <a:pt x="295534" y="106114"/>
                </a:lnTo>
                <a:lnTo>
                  <a:pt x="306044" y="95324"/>
                </a:lnTo>
                <a:lnTo>
                  <a:pt x="314956" y="86022"/>
                </a:lnTo>
                <a:lnTo>
                  <a:pt x="344895" y="47575"/>
                </a:lnTo>
                <a:lnTo>
                  <a:pt x="346284" y="42118"/>
                </a:lnTo>
                <a:lnTo>
                  <a:pt x="346284" y="31005"/>
                </a:lnTo>
                <a:lnTo>
                  <a:pt x="344696" y="26739"/>
                </a:lnTo>
                <a:lnTo>
                  <a:pt x="341521" y="23663"/>
                </a:lnTo>
                <a:lnTo>
                  <a:pt x="338446" y="20587"/>
                </a:lnTo>
                <a:lnTo>
                  <a:pt x="334278" y="19050"/>
                </a:lnTo>
                <a:lnTo>
                  <a:pt x="366090" y="19050"/>
                </a:lnTo>
                <a:lnTo>
                  <a:pt x="368261" y="22621"/>
                </a:lnTo>
                <a:lnTo>
                  <a:pt x="369799" y="28326"/>
                </a:lnTo>
                <a:lnTo>
                  <a:pt x="369799" y="41423"/>
                </a:lnTo>
                <a:lnTo>
                  <a:pt x="368310" y="47922"/>
                </a:lnTo>
                <a:lnTo>
                  <a:pt x="365334" y="54173"/>
                </a:lnTo>
                <a:lnTo>
                  <a:pt x="362457" y="60325"/>
                </a:lnTo>
                <a:lnTo>
                  <a:pt x="330443" y="95929"/>
                </a:lnTo>
                <a:lnTo>
                  <a:pt x="321281" y="104775"/>
                </a:lnTo>
                <a:lnTo>
                  <a:pt x="372478" y="104775"/>
                </a:lnTo>
                <a:lnTo>
                  <a:pt x="369948" y="122783"/>
                </a:lnTo>
                <a:close/>
              </a:path>
              <a:path w="653414" h="125730">
                <a:moveTo>
                  <a:pt x="442191" y="122783"/>
                </a:moveTo>
                <a:lnTo>
                  <a:pt x="414360" y="122783"/>
                </a:lnTo>
                <a:lnTo>
                  <a:pt x="376855" y="0"/>
                </a:lnTo>
                <a:lnTo>
                  <a:pt x="402156" y="0"/>
                </a:lnTo>
                <a:lnTo>
                  <a:pt x="428796" y="101947"/>
                </a:lnTo>
                <a:lnTo>
                  <a:pt x="448378" y="101947"/>
                </a:lnTo>
                <a:lnTo>
                  <a:pt x="442191" y="122783"/>
                </a:lnTo>
                <a:close/>
              </a:path>
              <a:path w="653414" h="125730">
                <a:moveTo>
                  <a:pt x="448378" y="101947"/>
                </a:moveTo>
                <a:lnTo>
                  <a:pt x="428796" y="101947"/>
                </a:lnTo>
                <a:lnTo>
                  <a:pt x="454692" y="0"/>
                </a:lnTo>
                <a:lnTo>
                  <a:pt x="478653" y="0"/>
                </a:lnTo>
                <a:lnTo>
                  <a:pt x="448378" y="101947"/>
                </a:lnTo>
                <a:close/>
              </a:path>
              <a:path w="653414" h="125730">
                <a:moveTo>
                  <a:pt x="525914" y="125462"/>
                </a:moveTo>
                <a:lnTo>
                  <a:pt x="487646" y="105147"/>
                </a:lnTo>
                <a:lnTo>
                  <a:pt x="481213" y="77787"/>
                </a:lnTo>
                <a:lnTo>
                  <a:pt x="481241" y="73521"/>
                </a:lnTo>
                <a:lnTo>
                  <a:pt x="494213" y="36958"/>
                </a:lnTo>
                <a:lnTo>
                  <a:pt x="514305" y="26044"/>
                </a:lnTo>
                <a:lnTo>
                  <a:pt x="522937" y="26044"/>
                </a:lnTo>
                <a:lnTo>
                  <a:pt x="555920" y="42267"/>
                </a:lnTo>
                <a:lnTo>
                  <a:pt x="517877" y="42267"/>
                </a:lnTo>
                <a:lnTo>
                  <a:pt x="513462" y="44350"/>
                </a:lnTo>
                <a:lnTo>
                  <a:pt x="507211" y="52585"/>
                </a:lnTo>
                <a:lnTo>
                  <a:pt x="505375" y="59084"/>
                </a:lnTo>
                <a:lnTo>
                  <a:pt x="504780" y="68014"/>
                </a:lnTo>
                <a:lnTo>
                  <a:pt x="563957" y="68014"/>
                </a:lnTo>
                <a:lnTo>
                  <a:pt x="564311" y="73521"/>
                </a:lnTo>
                <a:lnTo>
                  <a:pt x="564232" y="76348"/>
                </a:lnTo>
                <a:lnTo>
                  <a:pt x="564163" y="77787"/>
                </a:lnTo>
                <a:lnTo>
                  <a:pt x="563865" y="82748"/>
                </a:lnTo>
                <a:lnTo>
                  <a:pt x="504780" y="82748"/>
                </a:lnTo>
                <a:lnTo>
                  <a:pt x="505475" y="91876"/>
                </a:lnTo>
                <a:lnTo>
                  <a:pt x="507856" y="98425"/>
                </a:lnTo>
                <a:lnTo>
                  <a:pt x="511924" y="102393"/>
                </a:lnTo>
                <a:lnTo>
                  <a:pt x="515992" y="106263"/>
                </a:lnTo>
                <a:lnTo>
                  <a:pt x="521300" y="108198"/>
                </a:lnTo>
                <a:lnTo>
                  <a:pt x="557399" y="108198"/>
                </a:lnTo>
                <a:lnTo>
                  <a:pt x="560740" y="112811"/>
                </a:lnTo>
                <a:lnTo>
                  <a:pt x="552703" y="118346"/>
                </a:lnTo>
                <a:lnTo>
                  <a:pt x="544220" y="122299"/>
                </a:lnTo>
                <a:lnTo>
                  <a:pt x="535290" y="124671"/>
                </a:lnTo>
                <a:lnTo>
                  <a:pt x="525914" y="125462"/>
                </a:lnTo>
                <a:close/>
              </a:path>
              <a:path w="653414" h="125730">
                <a:moveTo>
                  <a:pt x="563957" y="68014"/>
                </a:moveTo>
                <a:lnTo>
                  <a:pt x="541690" y="68014"/>
                </a:lnTo>
                <a:lnTo>
                  <a:pt x="541690" y="66972"/>
                </a:lnTo>
                <a:lnTo>
                  <a:pt x="540555" y="56164"/>
                </a:lnTo>
                <a:lnTo>
                  <a:pt x="537150" y="48443"/>
                </a:lnTo>
                <a:lnTo>
                  <a:pt x="531476" y="43811"/>
                </a:lnTo>
                <a:lnTo>
                  <a:pt x="523533" y="42267"/>
                </a:lnTo>
                <a:lnTo>
                  <a:pt x="555920" y="42267"/>
                </a:lnTo>
                <a:lnTo>
                  <a:pt x="558200" y="45560"/>
                </a:lnTo>
                <a:lnTo>
                  <a:pt x="561595" y="53652"/>
                </a:lnTo>
                <a:lnTo>
                  <a:pt x="563632" y="62972"/>
                </a:lnTo>
                <a:lnTo>
                  <a:pt x="563957" y="68014"/>
                </a:lnTo>
                <a:close/>
              </a:path>
              <a:path w="653414" h="125730">
                <a:moveTo>
                  <a:pt x="557399" y="108198"/>
                </a:moveTo>
                <a:lnTo>
                  <a:pt x="532016" y="108198"/>
                </a:lnTo>
                <a:lnTo>
                  <a:pt x="535935" y="107553"/>
                </a:lnTo>
                <a:lnTo>
                  <a:pt x="539606" y="106263"/>
                </a:lnTo>
                <a:lnTo>
                  <a:pt x="543277" y="104874"/>
                </a:lnTo>
                <a:lnTo>
                  <a:pt x="547196" y="102741"/>
                </a:lnTo>
                <a:lnTo>
                  <a:pt x="551363" y="99863"/>
                </a:lnTo>
                <a:lnTo>
                  <a:pt x="557399" y="108198"/>
                </a:lnTo>
                <a:close/>
              </a:path>
              <a:path w="653414" h="125730">
                <a:moveTo>
                  <a:pt x="622727" y="125462"/>
                </a:moveTo>
                <a:lnTo>
                  <a:pt x="613798" y="125462"/>
                </a:lnTo>
                <a:lnTo>
                  <a:pt x="606009" y="123477"/>
                </a:lnTo>
                <a:lnTo>
                  <a:pt x="580014" y="90561"/>
                </a:lnTo>
                <a:lnTo>
                  <a:pt x="578674" y="76646"/>
                </a:lnTo>
                <a:lnTo>
                  <a:pt x="579009" y="69353"/>
                </a:lnTo>
                <a:lnTo>
                  <a:pt x="599361" y="32444"/>
                </a:lnTo>
                <a:lnTo>
                  <a:pt x="606009" y="28178"/>
                </a:lnTo>
                <a:lnTo>
                  <a:pt x="613748" y="26044"/>
                </a:lnTo>
                <a:lnTo>
                  <a:pt x="628730" y="26044"/>
                </a:lnTo>
                <a:lnTo>
                  <a:pt x="634237" y="26937"/>
                </a:lnTo>
                <a:lnTo>
                  <a:pt x="644059" y="30509"/>
                </a:lnTo>
                <a:lnTo>
                  <a:pt x="648772" y="33287"/>
                </a:lnTo>
                <a:lnTo>
                  <a:pt x="653237" y="37058"/>
                </a:lnTo>
                <a:lnTo>
                  <a:pt x="648067" y="44053"/>
                </a:lnTo>
                <a:lnTo>
                  <a:pt x="624067" y="44053"/>
                </a:lnTo>
                <a:lnTo>
                  <a:pt x="614821" y="46062"/>
                </a:lnTo>
                <a:lnTo>
                  <a:pt x="608217" y="52089"/>
                </a:lnTo>
                <a:lnTo>
                  <a:pt x="604254" y="62135"/>
                </a:lnTo>
                <a:lnTo>
                  <a:pt x="602933" y="76200"/>
                </a:lnTo>
                <a:lnTo>
                  <a:pt x="602933" y="87114"/>
                </a:lnTo>
                <a:lnTo>
                  <a:pt x="604769" y="95001"/>
                </a:lnTo>
                <a:lnTo>
                  <a:pt x="608440" y="99863"/>
                </a:lnTo>
                <a:lnTo>
                  <a:pt x="612111" y="104626"/>
                </a:lnTo>
                <a:lnTo>
                  <a:pt x="617320" y="107007"/>
                </a:lnTo>
                <a:lnTo>
                  <a:pt x="647916" y="107007"/>
                </a:lnTo>
                <a:lnTo>
                  <a:pt x="653237" y="114597"/>
                </a:lnTo>
                <a:lnTo>
                  <a:pt x="646307" y="119350"/>
                </a:lnTo>
                <a:lnTo>
                  <a:pt x="638912" y="122745"/>
                </a:lnTo>
                <a:lnTo>
                  <a:pt x="631052" y="124783"/>
                </a:lnTo>
                <a:lnTo>
                  <a:pt x="622727" y="125462"/>
                </a:lnTo>
                <a:close/>
              </a:path>
              <a:path w="653414" h="125730">
                <a:moveTo>
                  <a:pt x="643117" y="50750"/>
                </a:moveTo>
                <a:lnTo>
                  <a:pt x="639843" y="48468"/>
                </a:lnTo>
                <a:lnTo>
                  <a:pt x="636717" y="46781"/>
                </a:lnTo>
                <a:lnTo>
                  <a:pt x="633741" y="45690"/>
                </a:lnTo>
                <a:lnTo>
                  <a:pt x="630863" y="44598"/>
                </a:lnTo>
                <a:lnTo>
                  <a:pt x="627639" y="44053"/>
                </a:lnTo>
                <a:lnTo>
                  <a:pt x="648067" y="44053"/>
                </a:lnTo>
                <a:lnTo>
                  <a:pt x="643117" y="50750"/>
                </a:lnTo>
                <a:close/>
              </a:path>
              <a:path w="653414" h="125730">
                <a:moveTo>
                  <a:pt x="647916" y="107007"/>
                </a:moveTo>
                <a:lnTo>
                  <a:pt x="627341" y="107007"/>
                </a:lnTo>
                <a:lnTo>
                  <a:pt x="630367" y="106461"/>
                </a:lnTo>
                <a:lnTo>
                  <a:pt x="635923" y="104278"/>
                </a:lnTo>
                <a:lnTo>
                  <a:pt x="639247" y="102542"/>
                </a:lnTo>
                <a:lnTo>
                  <a:pt x="643117" y="100161"/>
                </a:lnTo>
                <a:lnTo>
                  <a:pt x="647916" y="107007"/>
                </a:lnTo>
                <a:close/>
              </a:path>
            </a:pathLst>
          </a:custGeom>
          <a:solidFill>
            <a:srgbClr val="000000"/>
          </a:solidFill>
        </p:spPr>
        <p:txBody>
          <a:bodyPr wrap="square" lIns="0" tIns="0" rIns="0" bIns="0" rtlCol="0"/>
          <a:lstStyle/>
          <a:p>
            <a:endParaRPr/>
          </a:p>
        </p:txBody>
      </p:sp>
      <p:sp>
        <p:nvSpPr>
          <p:cNvPr id="32" name="object 32"/>
          <p:cNvSpPr/>
          <p:nvPr/>
        </p:nvSpPr>
        <p:spPr>
          <a:xfrm>
            <a:off x="1828900" y="1793935"/>
            <a:ext cx="861694" cy="144780"/>
          </a:xfrm>
          <a:custGeom>
            <a:avLst/>
            <a:gdLst/>
            <a:ahLst/>
            <a:cxnLst/>
            <a:rect l="l" t="t" r="r" b="b"/>
            <a:pathLst>
              <a:path w="861694" h="144780">
                <a:moveTo>
                  <a:pt x="69949" y="141684"/>
                </a:moveTo>
                <a:lnTo>
                  <a:pt x="0" y="141684"/>
                </a:lnTo>
                <a:lnTo>
                  <a:pt x="0" y="18901"/>
                </a:lnTo>
                <a:lnTo>
                  <a:pt x="23366" y="18901"/>
                </a:lnTo>
                <a:lnTo>
                  <a:pt x="23366" y="122485"/>
                </a:lnTo>
                <a:lnTo>
                  <a:pt x="72628" y="122485"/>
                </a:lnTo>
                <a:lnTo>
                  <a:pt x="69949" y="141684"/>
                </a:lnTo>
                <a:close/>
              </a:path>
              <a:path w="861694" h="144780">
                <a:moveTo>
                  <a:pt x="111943" y="141684"/>
                </a:moveTo>
                <a:lnTo>
                  <a:pt x="89172" y="141684"/>
                </a:lnTo>
                <a:lnTo>
                  <a:pt x="89172" y="47625"/>
                </a:lnTo>
                <a:lnTo>
                  <a:pt x="111943" y="47625"/>
                </a:lnTo>
                <a:lnTo>
                  <a:pt x="111943" y="141684"/>
                </a:lnTo>
                <a:close/>
              </a:path>
              <a:path w="861694" h="144780">
                <a:moveTo>
                  <a:pt x="104600" y="27533"/>
                </a:moveTo>
                <a:lnTo>
                  <a:pt x="96266" y="27533"/>
                </a:lnTo>
                <a:lnTo>
                  <a:pt x="92893" y="26243"/>
                </a:lnTo>
                <a:lnTo>
                  <a:pt x="87535" y="21083"/>
                </a:lnTo>
                <a:lnTo>
                  <a:pt x="86195" y="17859"/>
                </a:lnTo>
                <a:lnTo>
                  <a:pt x="86195" y="10021"/>
                </a:lnTo>
                <a:lnTo>
                  <a:pt x="87535" y="6697"/>
                </a:lnTo>
                <a:lnTo>
                  <a:pt x="92893" y="1339"/>
                </a:lnTo>
                <a:lnTo>
                  <a:pt x="96266" y="0"/>
                </a:lnTo>
                <a:lnTo>
                  <a:pt x="104600" y="0"/>
                </a:lnTo>
                <a:lnTo>
                  <a:pt x="108073" y="1339"/>
                </a:lnTo>
                <a:lnTo>
                  <a:pt x="113431" y="6697"/>
                </a:lnTo>
                <a:lnTo>
                  <a:pt x="114770" y="10021"/>
                </a:lnTo>
                <a:lnTo>
                  <a:pt x="114770" y="17859"/>
                </a:lnTo>
                <a:lnTo>
                  <a:pt x="113431" y="21083"/>
                </a:lnTo>
                <a:lnTo>
                  <a:pt x="108073" y="26243"/>
                </a:lnTo>
                <a:lnTo>
                  <a:pt x="104600" y="27533"/>
                </a:lnTo>
                <a:close/>
              </a:path>
              <a:path w="861694" h="144780">
                <a:moveTo>
                  <a:pt x="214503" y="59977"/>
                </a:moveTo>
                <a:lnTo>
                  <a:pt x="160715" y="59977"/>
                </a:lnTo>
                <a:lnTo>
                  <a:pt x="166863" y="53401"/>
                </a:lnTo>
                <a:lnTo>
                  <a:pt x="173700" y="48704"/>
                </a:lnTo>
                <a:lnTo>
                  <a:pt x="181225" y="45885"/>
                </a:lnTo>
                <a:lnTo>
                  <a:pt x="189439" y="44946"/>
                </a:lnTo>
                <a:lnTo>
                  <a:pt x="197773" y="44946"/>
                </a:lnTo>
                <a:lnTo>
                  <a:pt x="204272" y="47476"/>
                </a:lnTo>
                <a:lnTo>
                  <a:pt x="208935" y="52536"/>
                </a:lnTo>
                <a:lnTo>
                  <a:pt x="213698" y="57596"/>
                </a:lnTo>
                <a:lnTo>
                  <a:pt x="214503" y="59977"/>
                </a:lnTo>
                <a:close/>
              </a:path>
              <a:path w="861694" h="144780">
                <a:moveTo>
                  <a:pt x="162054" y="141684"/>
                </a:moveTo>
                <a:lnTo>
                  <a:pt x="139284" y="141684"/>
                </a:lnTo>
                <a:lnTo>
                  <a:pt x="139284" y="47625"/>
                </a:lnTo>
                <a:lnTo>
                  <a:pt x="158929" y="47625"/>
                </a:lnTo>
                <a:lnTo>
                  <a:pt x="160715" y="59977"/>
                </a:lnTo>
                <a:lnTo>
                  <a:pt x="214503" y="59977"/>
                </a:lnTo>
                <a:lnTo>
                  <a:pt x="215207" y="62061"/>
                </a:lnTo>
                <a:lnTo>
                  <a:pt x="177830" y="62061"/>
                </a:lnTo>
                <a:lnTo>
                  <a:pt x="174308" y="63301"/>
                </a:lnTo>
                <a:lnTo>
                  <a:pt x="168057" y="68163"/>
                </a:lnTo>
                <a:lnTo>
                  <a:pt x="165031" y="71685"/>
                </a:lnTo>
                <a:lnTo>
                  <a:pt x="162054" y="76348"/>
                </a:lnTo>
                <a:lnTo>
                  <a:pt x="162054" y="141684"/>
                </a:lnTo>
                <a:close/>
              </a:path>
              <a:path w="861694" h="144780">
                <a:moveTo>
                  <a:pt x="216079" y="141684"/>
                </a:moveTo>
                <a:lnTo>
                  <a:pt x="193308" y="141684"/>
                </a:lnTo>
                <a:lnTo>
                  <a:pt x="193308" y="71586"/>
                </a:lnTo>
                <a:lnTo>
                  <a:pt x="192316" y="67667"/>
                </a:lnTo>
                <a:lnTo>
                  <a:pt x="190332" y="65484"/>
                </a:lnTo>
                <a:lnTo>
                  <a:pt x="188446" y="63202"/>
                </a:lnTo>
                <a:lnTo>
                  <a:pt x="185569" y="62061"/>
                </a:lnTo>
                <a:lnTo>
                  <a:pt x="215207" y="62061"/>
                </a:lnTo>
                <a:lnTo>
                  <a:pt x="216079" y="64641"/>
                </a:lnTo>
                <a:lnTo>
                  <a:pt x="216079" y="141684"/>
                </a:lnTo>
                <a:close/>
              </a:path>
              <a:path w="861694" h="144780">
                <a:moveTo>
                  <a:pt x="281223" y="144363"/>
                </a:moveTo>
                <a:lnTo>
                  <a:pt x="242956" y="124048"/>
                </a:lnTo>
                <a:lnTo>
                  <a:pt x="236523" y="96688"/>
                </a:lnTo>
                <a:lnTo>
                  <a:pt x="236550" y="92422"/>
                </a:lnTo>
                <a:lnTo>
                  <a:pt x="249523" y="55860"/>
                </a:lnTo>
                <a:lnTo>
                  <a:pt x="269614" y="44946"/>
                </a:lnTo>
                <a:lnTo>
                  <a:pt x="278246" y="44946"/>
                </a:lnTo>
                <a:lnTo>
                  <a:pt x="311229" y="61168"/>
                </a:lnTo>
                <a:lnTo>
                  <a:pt x="273186" y="61168"/>
                </a:lnTo>
                <a:lnTo>
                  <a:pt x="268771" y="63251"/>
                </a:lnTo>
                <a:lnTo>
                  <a:pt x="262520" y="71487"/>
                </a:lnTo>
                <a:lnTo>
                  <a:pt x="260685" y="77985"/>
                </a:lnTo>
                <a:lnTo>
                  <a:pt x="260089" y="86915"/>
                </a:lnTo>
                <a:lnTo>
                  <a:pt x="319266" y="86915"/>
                </a:lnTo>
                <a:lnTo>
                  <a:pt x="319621" y="92422"/>
                </a:lnTo>
                <a:lnTo>
                  <a:pt x="319541" y="95250"/>
                </a:lnTo>
                <a:lnTo>
                  <a:pt x="319472" y="96688"/>
                </a:lnTo>
                <a:lnTo>
                  <a:pt x="319174" y="101649"/>
                </a:lnTo>
                <a:lnTo>
                  <a:pt x="260089" y="101649"/>
                </a:lnTo>
                <a:lnTo>
                  <a:pt x="260784" y="110777"/>
                </a:lnTo>
                <a:lnTo>
                  <a:pt x="263165" y="117326"/>
                </a:lnTo>
                <a:lnTo>
                  <a:pt x="267233" y="121294"/>
                </a:lnTo>
                <a:lnTo>
                  <a:pt x="271301" y="125164"/>
                </a:lnTo>
                <a:lnTo>
                  <a:pt x="276609" y="127099"/>
                </a:lnTo>
                <a:lnTo>
                  <a:pt x="312708" y="127099"/>
                </a:lnTo>
                <a:lnTo>
                  <a:pt x="316049" y="131712"/>
                </a:lnTo>
                <a:lnTo>
                  <a:pt x="308012" y="137247"/>
                </a:lnTo>
                <a:lnTo>
                  <a:pt x="299529" y="141200"/>
                </a:lnTo>
                <a:lnTo>
                  <a:pt x="290599" y="143572"/>
                </a:lnTo>
                <a:lnTo>
                  <a:pt x="281223" y="144363"/>
                </a:lnTo>
                <a:close/>
              </a:path>
              <a:path w="861694" h="144780">
                <a:moveTo>
                  <a:pt x="319266" y="86915"/>
                </a:moveTo>
                <a:lnTo>
                  <a:pt x="296999" y="86915"/>
                </a:lnTo>
                <a:lnTo>
                  <a:pt x="296999" y="85873"/>
                </a:lnTo>
                <a:lnTo>
                  <a:pt x="295864" y="75065"/>
                </a:lnTo>
                <a:lnTo>
                  <a:pt x="292460" y="67344"/>
                </a:lnTo>
                <a:lnTo>
                  <a:pt x="286785" y="62712"/>
                </a:lnTo>
                <a:lnTo>
                  <a:pt x="278842" y="61168"/>
                </a:lnTo>
                <a:lnTo>
                  <a:pt x="311229" y="61168"/>
                </a:lnTo>
                <a:lnTo>
                  <a:pt x="313509" y="64461"/>
                </a:lnTo>
                <a:lnTo>
                  <a:pt x="316905" y="72553"/>
                </a:lnTo>
                <a:lnTo>
                  <a:pt x="318942" y="81874"/>
                </a:lnTo>
                <a:lnTo>
                  <a:pt x="319266" y="86915"/>
                </a:lnTo>
                <a:close/>
              </a:path>
              <a:path w="861694" h="144780">
                <a:moveTo>
                  <a:pt x="312708" y="127099"/>
                </a:moveTo>
                <a:lnTo>
                  <a:pt x="287325" y="127099"/>
                </a:lnTo>
                <a:lnTo>
                  <a:pt x="291244" y="126454"/>
                </a:lnTo>
                <a:lnTo>
                  <a:pt x="294915" y="125164"/>
                </a:lnTo>
                <a:lnTo>
                  <a:pt x="298586" y="123775"/>
                </a:lnTo>
                <a:lnTo>
                  <a:pt x="302505" y="121642"/>
                </a:lnTo>
                <a:lnTo>
                  <a:pt x="306673" y="118764"/>
                </a:lnTo>
                <a:lnTo>
                  <a:pt x="312708" y="127099"/>
                </a:lnTo>
                <a:close/>
              </a:path>
              <a:path w="861694" h="144780">
                <a:moveTo>
                  <a:pt x="342921" y="67270"/>
                </a:moveTo>
                <a:lnTo>
                  <a:pt x="371645" y="44946"/>
                </a:lnTo>
                <a:lnTo>
                  <a:pt x="387467" y="46973"/>
                </a:lnTo>
                <a:lnTo>
                  <a:pt x="398769" y="53057"/>
                </a:lnTo>
                <a:lnTo>
                  <a:pt x="404890" y="62210"/>
                </a:lnTo>
                <a:lnTo>
                  <a:pt x="360929" y="62210"/>
                </a:lnTo>
                <a:lnTo>
                  <a:pt x="352645" y="63896"/>
                </a:lnTo>
                <a:lnTo>
                  <a:pt x="342921" y="67270"/>
                </a:lnTo>
                <a:close/>
              </a:path>
              <a:path w="861694" h="144780">
                <a:moveTo>
                  <a:pt x="367180" y="144363"/>
                </a:moveTo>
                <a:lnTo>
                  <a:pt x="351900" y="144363"/>
                </a:lnTo>
                <a:lnTo>
                  <a:pt x="344509" y="141684"/>
                </a:lnTo>
                <a:lnTo>
                  <a:pt x="333595" y="130968"/>
                </a:lnTo>
                <a:lnTo>
                  <a:pt x="330924" y="124122"/>
                </a:lnTo>
                <a:lnTo>
                  <a:pt x="330866" y="115341"/>
                </a:lnTo>
                <a:lnTo>
                  <a:pt x="331554" y="108198"/>
                </a:lnTo>
                <a:lnTo>
                  <a:pt x="363980" y="84450"/>
                </a:lnTo>
                <a:lnTo>
                  <a:pt x="373729" y="83939"/>
                </a:lnTo>
                <a:lnTo>
                  <a:pt x="385337" y="83939"/>
                </a:lnTo>
                <a:lnTo>
                  <a:pt x="385337" y="72528"/>
                </a:lnTo>
                <a:lnTo>
                  <a:pt x="383948" y="68312"/>
                </a:lnTo>
                <a:lnTo>
                  <a:pt x="381170" y="65930"/>
                </a:lnTo>
                <a:lnTo>
                  <a:pt x="378392" y="63450"/>
                </a:lnTo>
                <a:lnTo>
                  <a:pt x="373927" y="62210"/>
                </a:lnTo>
                <a:lnTo>
                  <a:pt x="404890" y="62210"/>
                </a:lnTo>
                <a:lnTo>
                  <a:pt x="405550" y="63196"/>
                </a:lnTo>
                <a:lnTo>
                  <a:pt x="407810" y="77390"/>
                </a:lnTo>
                <a:lnTo>
                  <a:pt x="407810" y="97184"/>
                </a:lnTo>
                <a:lnTo>
                  <a:pt x="375961" y="97184"/>
                </a:lnTo>
                <a:lnTo>
                  <a:pt x="366324" y="98207"/>
                </a:lnTo>
                <a:lnTo>
                  <a:pt x="359441" y="101277"/>
                </a:lnTo>
                <a:lnTo>
                  <a:pt x="355311" y="106393"/>
                </a:lnTo>
                <a:lnTo>
                  <a:pt x="353934" y="113555"/>
                </a:lnTo>
                <a:lnTo>
                  <a:pt x="353934" y="118119"/>
                </a:lnTo>
                <a:lnTo>
                  <a:pt x="355026" y="121642"/>
                </a:lnTo>
                <a:lnTo>
                  <a:pt x="357209" y="124122"/>
                </a:lnTo>
                <a:lnTo>
                  <a:pt x="359491" y="126603"/>
                </a:lnTo>
                <a:lnTo>
                  <a:pt x="362864" y="127843"/>
                </a:lnTo>
                <a:lnTo>
                  <a:pt x="412306" y="127843"/>
                </a:lnTo>
                <a:lnTo>
                  <a:pt x="414954" y="128885"/>
                </a:lnTo>
                <a:lnTo>
                  <a:pt x="414472" y="130373"/>
                </a:lnTo>
                <a:lnTo>
                  <a:pt x="389356" y="130373"/>
                </a:lnTo>
                <a:lnTo>
                  <a:pt x="386081" y="135036"/>
                </a:lnTo>
                <a:lnTo>
                  <a:pt x="382063" y="138558"/>
                </a:lnTo>
                <a:lnTo>
                  <a:pt x="377300" y="140940"/>
                </a:lnTo>
                <a:lnTo>
                  <a:pt x="372538" y="143222"/>
                </a:lnTo>
                <a:lnTo>
                  <a:pt x="367180" y="144363"/>
                </a:lnTo>
                <a:close/>
              </a:path>
              <a:path w="861694" h="144780">
                <a:moveTo>
                  <a:pt x="412306" y="127843"/>
                </a:moveTo>
                <a:lnTo>
                  <a:pt x="374969" y="127843"/>
                </a:lnTo>
                <a:lnTo>
                  <a:pt x="380972" y="123973"/>
                </a:lnTo>
                <a:lnTo>
                  <a:pt x="385337" y="116234"/>
                </a:lnTo>
                <a:lnTo>
                  <a:pt x="385337" y="97184"/>
                </a:lnTo>
                <a:lnTo>
                  <a:pt x="407810" y="97184"/>
                </a:lnTo>
                <a:lnTo>
                  <a:pt x="407810" y="120501"/>
                </a:lnTo>
                <a:lnTo>
                  <a:pt x="408356" y="123180"/>
                </a:lnTo>
                <a:lnTo>
                  <a:pt x="410539" y="126553"/>
                </a:lnTo>
                <a:lnTo>
                  <a:pt x="412306" y="127843"/>
                </a:lnTo>
                <a:close/>
              </a:path>
              <a:path w="861694" h="144780">
                <a:moveTo>
                  <a:pt x="410043" y="144065"/>
                </a:moveTo>
                <a:lnTo>
                  <a:pt x="389356" y="130373"/>
                </a:lnTo>
                <a:lnTo>
                  <a:pt x="414472" y="130373"/>
                </a:lnTo>
                <a:lnTo>
                  <a:pt x="410043" y="144065"/>
                </a:lnTo>
                <a:close/>
              </a:path>
              <a:path w="861694" h="144780">
                <a:moveTo>
                  <a:pt x="487665" y="66228"/>
                </a:moveTo>
                <a:lnTo>
                  <a:pt x="457210" y="66228"/>
                </a:lnTo>
                <a:lnTo>
                  <a:pt x="459393" y="59382"/>
                </a:lnTo>
                <a:lnTo>
                  <a:pt x="462617" y="54173"/>
                </a:lnTo>
                <a:lnTo>
                  <a:pt x="471150" y="47029"/>
                </a:lnTo>
                <a:lnTo>
                  <a:pt x="476111" y="45243"/>
                </a:lnTo>
                <a:lnTo>
                  <a:pt x="485140" y="45243"/>
                </a:lnTo>
                <a:lnTo>
                  <a:pt x="488265" y="45640"/>
                </a:lnTo>
                <a:lnTo>
                  <a:pt x="491143" y="46434"/>
                </a:lnTo>
                <a:lnTo>
                  <a:pt x="487665" y="66228"/>
                </a:lnTo>
                <a:close/>
              </a:path>
              <a:path w="861694" h="144780">
                <a:moveTo>
                  <a:pt x="458103" y="141684"/>
                </a:moveTo>
                <a:lnTo>
                  <a:pt x="435332" y="141684"/>
                </a:lnTo>
                <a:lnTo>
                  <a:pt x="435332" y="47625"/>
                </a:lnTo>
                <a:lnTo>
                  <a:pt x="454977" y="47625"/>
                </a:lnTo>
                <a:lnTo>
                  <a:pt x="457210" y="66228"/>
                </a:lnTo>
                <a:lnTo>
                  <a:pt x="487665" y="66228"/>
                </a:lnTo>
                <a:lnTo>
                  <a:pt x="487456" y="67419"/>
                </a:lnTo>
                <a:lnTo>
                  <a:pt x="473234" y="67419"/>
                </a:lnTo>
                <a:lnTo>
                  <a:pt x="468868" y="69403"/>
                </a:lnTo>
                <a:lnTo>
                  <a:pt x="462518" y="77341"/>
                </a:lnTo>
                <a:lnTo>
                  <a:pt x="459988" y="83393"/>
                </a:lnTo>
                <a:lnTo>
                  <a:pt x="458103" y="91529"/>
                </a:lnTo>
                <a:lnTo>
                  <a:pt x="458103" y="141684"/>
                </a:lnTo>
                <a:close/>
              </a:path>
              <a:path w="861694" h="144780">
                <a:moveTo>
                  <a:pt x="487273" y="68460"/>
                </a:moveTo>
                <a:lnTo>
                  <a:pt x="484396" y="67766"/>
                </a:lnTo>
                <a:lnTo>
                  <a:pt x="481568" y="67419"/>
                </a:lnTo>
                <a:lnTo>
                  <a:pt x="487456" y="67419"/>
                </a:lnTo>
                <a:lnTo>
                  <a:pt x="487273" y="68460"/>
                </a:lnTo>
                <a:close/>
              </a:path>
              <a:path w="861694" h="144780">
                <a:moveTo>
                  <a:pt x="624186" y="126206"/>
                </a:moveTo>
                <a:lnTo>
                  <a:pt x="589558" y="126206"/>
                </a:lnTo>
                <a:lnTo>
                  <a:pt x="595015" y="124618"/>
                </a:lnTo>
                <a:lnTo>
                  <a:pt x="603350" y="118268"/>
                </a:lnTo>
                <a:lnTo>
                  <a:pt x="605319" y="114002"/>
                </a:lnTo>
                <a:lnTo>
                  <a:pt x="605433" y="104328"/>
                </a:lnTo>
                <a:lnTo>
                  <a:pt x="604689" y="101401"/>
                </a:lnTo>
                <a:lnTo>
                  <a:pt x="603184" y="99091"/>
                </a:lnTo>
                <a:lnTo>
                  <a:pt x="601812" y="96837"/>
                </a:lnTo>
                <a:lnTo>
                  <a:pt x="599381" y="94803"/>
                </a:lnTo>
                <a:lnTo>
                  <a:pt x="595908" y="93017"/>
                </a:lnTo>
                <a:lnTo>
                  <a:pt x="592535" y="91132"/>
                </a:lnTo>
                <a:lnTo>
                  <a:pt x="587574" y="89148"/>
                </a:lnTo>
                <a:lnTo>
                  <a:pt x="581025" y="87064"/>
                </a:lnTo>
                <a:lnTo>
                  <a:pt x="571947" y="83929"/>
                </a:lnTo>
                <a:lnTo>
                  <a:pt x="544116" y="59382"/>
                </a:lnTo>
                <a:lnTo>
                  <a:pt x="544116" y="43408"/>
                </a:lnTo>
                <a:lnTo>
                  <a:pt x="545852" y="37504"/>
                </a:lnTo>
                <a:lnTo>
                  <a:pt x="552897" y="27285"/>
                </a:lnTo>
                <a:lnTo>
                  <a:pt x="557858" y="23316"/>
                </a:lnTo>
                <a:lnTo>
                  <a:pt x="564208" y="20538"/>
                </a:lnTo>
                <a:lnTo>
                  <a:pt x="570558" y="17660"/>
                </a:lnTo>
                <a:lnTo>
                  <a:pt x="577751" y="16222"/>
                </a:lnTo>
                <a:lnTo>
                  <a:pt x="594420" y="16222"/>
                </a:lnTo>
                <a:lnTo>
                  <a:pt x="601911" y="17462"/>
                </a:lnTo>
                <a:lnTo>
                  <a:pt x="614710" y="22423"/>
                </a:lnTo>
                <a:lnTo>
                  <a:pt x="620762" y="26243"/>
                </a:lnTo>
                <a:lnTo>
                  <a:pt x="626418" y="31402"/>
                </a:lnTo>
                <a:lnTo>
                  <a:pt x="623940" y="34230"/>
                </a:lnTo>
                <a:lnTo>
                  <a:pt x="581621" y="34230"/>
                </a:lnTo>
                <a:lnTo>
                  <a:pt x="577007" y="35520"/>
                </a:lnTo>
                <a:lnTo>
                  <a:pt x="569962" y="40580"/>
                </a:lnTo>
                <a:lnTo>
                  <a:pt x="568226" y="44152"/>
                </a:lnTo>
                <a:lnTo>
                  <a:pt x="568226" y="51891"/>
                </a:lnTo>
                <a:lnTo>
                  <a:pt x="593527" y="67865"/>
                </a:lnTo>
                <a:lnTo>
                  <a:pt x="601973" y="70935"/>
                </a:lnTo>
                <a:lnTo>
                  <a:pt x="629266" y="99119"/>
                </a:lnTo>
                <a:lnTo>
                  <a:pt x="629841" y="106709"/>
                </a:lnTo>
                <a:lnTo>
                  <a:pt x="629841" y="114051"/>
                </a:lnTo>
                <a:lnTo>
                  <a:pt x="627956" y="120550"/>
                </a:lnTo>
                <a:lnTo>
                  <a:pt x="624186" y="126206"/>
                </a:lnTo>
                <a:close/>
              </a:path>
              <a:path w="861694" h="144780">
                <a:moveTo>
                  <a:pt x="614809" y="44648"/>
                </a:moveTo>
                <a:lnTo>
                  <a:pt x="610444" y="40977"/>
                </a:lnTo>
                <a:lnTo>
                  <a:pt x="606029" y="38348"/>
                </a:lnTo>
                <a:lnTo>
                  <a:pt x="601564" y="36760"/>
                </a:lnTo>
                <a:lnTo>
                  <a:pt x="597099" y="35073"/>
                </a:lnTo>
                <a:lnTo>
                  <a:pt x="592336" y="34230"/>
                </a:lnTo>
                <a:lnTo>
                  <a:pt x="623940" y="34230"/>
                </a:lnTo>
                <a:lnTo>
                  <a:pt x="614809" y="44648"/>
                </a:lnTo>
                <a:close/>
              </a:path>
              <a:path w="861694" h="144780">
                <a:moveTo>
                  <a:pt x="592932" y="144363"/>
                </a:moveTo>
                <a:lnTo>
                  <a:pt x="583407" y="144363"/>
                </a:lnTo>
                <a:lnTo>
                  <a:pt x="576523" y="144084"/>
                </a:lnTo>
                <a:lnTo>
                  <a:pt x="539056" y="127396"/>
                </a:lnTo>
                <a:lnTo>
                  <a:pt x="551111" y="114002"/>
                </a:lnTo>
                <a:lnTo>
                  <a:pt x="555873" y="117971"/>
                </a:lnTo>
                <a:lnTo>
                  <a:pt x="560785" y="120997"/>
                </a:lnTo>
                <a:lnTo>
                  <a:pt x="571004" y="125164"/>
                </a:lnTo>
                <a:lnTo>
                  <a:pt x="576660" y="126206"/>
                </a:lnTo>
                <a:lnTo>
                  <a:pt x="624186" y="126206"/>
                </a:lnTo>
                <a:lnTo>
                  <a:pt x="620514" y="131861"/>
                </a:lnTo>
                <a:lnTo>
                  <a:pt x="615157" y="136326"/>
                </a:lnTo>
                <a:lnTo>
                  <a:pt x="601167" y="142775"/>
                </a:lnTo>
                <a:lnTo>
                  <a:pt x="592932" y="144363"/>
                </a:lnTo>
                <a:close/>
              </a:path>
              <a:path w="861694" h="144780">
                <a:moveTo>
                  <a:pt x="696478" y="141684"/>
                </a:moveTo>
                <a:lnTo>
                  <a:pt x="668648" y="141684"/>
                </a:lnTo>
                <a:lnTo>
                  <a:pt x="631143" y="18901"/>
                </a:lnTo>
                <a:lnTo>
                  <a:pt x="656444" y="18901"/>
                </a:lnTo>
                <a:lnTo>
                  <a:pt x="683084" y="120848"/>
                </a:lnTo>
                <a:lnTo>
                  <a:pt x="702666" y="120848"/>
                </a:lnTo>
                <a:lnTo>
                  <a:pt x="696478" y="141684"/>
                </a:lnTo>
                <a:close/>
              </a:path>
              <a:path w="861694" h="144780">
                <a:moveTo>
                  <a:pt x="702666" y="120848"/>
                </a:moveTo>
                <a:lnTo>
                  <a:pt x="683084" y="120848"/>
                </a:lnTo>
                <a:lnTo>
                  <a:pt x="708980" y="18901"/>
                </a:lnTo>
                <a:lnTo>
                  <a:pt x="732941" y="18901"/>
                </a:lnTo>
                <a:lnTo>
                  <a:pt x="702666" y="120848"/>
                </a:lnTo>
                <a:close/>
              </a:path>
              <a:path w="861694" h="144780">
                <a:moveTo>
                  <a:pt x="761793" y="141684"/>
                </a:moveTo>
                <a:lnTo>
                  <a:pt x="739022" y="141684"/>
                </a:lnTo>
                <a:lnTo>
                  <a:pt x="748845" y="18901"/>
                </a:lnTo>
                <a:lnTo>
                  <a:pt x="779057" y="18901"/>
                </a:lnTo>
                <a:lnTo>
                  <a:pt x="784395" y="40034"/>
                </a:lnTo>
                <a:lnTo>
                  <a:pt x="765514" y="40034"/>
                </a:lnTo>
                <a:lnTo>
                  <a:pt x="765712" y="47873"/>
                </a:lnTo>
                <a:lnTo>
                  <a:pt x="765746" y="65912"/>
                </a:lnTo>
                <a:lnTo>
                  <a:pt x="765551" y="74190"/>
                </a:lnTo>
                <a:lnTo>
                  <a:pt x="765225" y="82581"/>
                </a:lnTo>
                <a:lnTo>
                  <a:pt x="764769" y="91082"/>
                </a:lnTo>
                <a:lnTo>
                  <a:pt x="761793" y="141684"/>
                </a:lnTo>
                <a:close/>
              </a:path>
              <a:path w="861694" h="144780">
                <a:moveTo>
                  <a:pt x="817461" y="104923"/>
                </a:moveTo>
                <a:lnTo>
                  <a:pt x="800786" y="104923"/>
                </a:lnTo>
                <a:lnTo>
                  <a:pt x="821473" y="18901"/>
                </a:lnTo>
                <a:lnTo>
                  <a:pt x="851983" y="18901"/>
                </a:lnTo>
                <a:lnTo>
                  <a:pt x="853660" y="40183"/>
                </a:lnTo>
                <a:lnTo>
                  <a:pt x="833974" y="40183"/>
                </a:lnTo>
                <a:lnTo>
                  <a:pt x="817461" y="104923"/>
                </a:lnTo>
                <a:close/>
              </a:path>
              <a:path w="861694" h="144780">
                <a:moveTo>
                  <a:pt x="811501" y="128289"/>
                </a:moveTo>
                <a:lnTo>
                  <a:pt x="789326" y="128289"/>
                </a:lnTo>
                <a:lnTo>
                  <a:pt x="765514" y="40034"/>
                </a:lnTo>
                <a:lnTo>
                  <a:pt x="784395" y="40034"/>
                </a:lnTo>
                <a:lnTo>
                  <a:pt x="800786" y="104923"/>
                </a:lnTo>
                <a:lnTo>
                  <a:pt x="817461" y="104923"/>
                </a:lnTo>
                <a:lnTo>
                  <a:pt x="811501" y="128289"/>
                </a:lnTo>
                <a:close/>
              </a:path>
              <a:path w="861694" h="144780">
                <a:moveTo>
                  <a:pt x="861657" y="141684"/>
                </a:moveTo>
                <a:lnTo>
                  <a:pt x="838737" y="141684"/>
                </a:lnTo>
                <a:lnTo>
                  <a:pt x="835463" y="90338"/>
                </a:lnTo>
                <a:lnTo>
                  <a:pt x="834812" y="77279"/>
                </a:lnTo>
                <a:lnTo>
                  <a:pt x="834347" y="65633"/>
                </a:lnTo>
                <a:lnTo>
                  <a:pt x="834068" y="55401"/>
                </a:lnTo>
                <a:lnTo>
                  <a:pt x="833974" y="40183"/>
                </a:lnTo>
                <a:lnTo>
                  <a:pt x="853660" y="40183"/>
                </a:lnTo>
                <a:lnTo>
                  <a:pt x="861657" y="141684"/>
                </a:lnTo>
                <a:close/>
              </a:path>
            </a:pathLst>
          </a:custGeom>
          <a:solidFill>
            <a:srgbClr val="000000"/>
          </a:solidFill>
        </p:spPr>
        <p:txBody>
          <a:bodyPr wrap="square" lIns="0" tIns="0" rIns="0" bIns="0" rtlCol="0"/>
          <a:lstStyle/>
          <a:p>
            <a:endParaRPr/>
          </a:p>
        </p:txBody>
      </p:sp>
      <p:grpSp>
        <p:nvGrpSpPr>
          <p:cNvPr id="33" name="object 33"/>
          <p:cNvGrpSpPr/>
          <p:nvPr/>
        </p:nvGrpSpPr>
        <p:grpSpPr>
          <a:xfrm>
            <a:off x="5558709" y="1772773"/>
            <a:ext cx="1107440" cy="354330"/>
            <a:chOff x="5613365" y="1896741"/>
            <a:chExt cx="1107440" cy="354330"/>
          </a:xfrm>
        </p:grpSpPr>
        <p:pic>
          <p:nvPicPr>
            <p:cNvPr id="34" name="object 34"/>
            <p:cNvPicPr/>
            <p:nvPr/>
          </p:nvPicPr>
          <p:blipFill>
            <a:blip r:embed="rId24" cstate="print"/>
            <a:stretch>
              <a:fillRect/>
            </a:stretch>
          </p:blipFill>
          <p:spPr>
            <a:xfrm>
              <a:off x="5613365" y="1896741"/>
              <a:ext cx="1106913" cy="180379"/>
            </a:xfrm>
            <a:prstGeom prst="rect">
              <a:avLst/>
            </a:prstGeom>
          </p:spPr>
        </p:pic>
        <p:sp>
          <p:nvSpPr>
            <p:cNvPr id="35" name="object 35"/>
            <p:cNvSpPr/>
            <p:nvPr/>
          </p:nvSpPr>
          <p:spPr>
            <a:xfrm>
              <a:off x="5697770" y="2106291"/>
              <a:ext cx="925194" cy="144780"/>
            </a:xfrm>
            <a:custGeom>
              <a:avLst/>
              <a:gdLst/>
              <a:ahLst/>
              <a:cxnLst/>
              <a:rect l="l" t="t" r="r" b="b"/>
              <a:pathLst>
                <a:path w="925195" h="144780">
                  <a:moveTo>
                    <a:pt x="48666" y="141684"/>
                  </a:moveTo>
                  <a:lnTo>
                    <a:pt x="20835" y="141684"/>
                  </a:lnTo>
                  <a:lnTo>
                    <a:pt x="0" y="47625"/>
                  </a:lnTo>
                  <a:lnTo>
                    <a:pt x="22770" y="47625"/>
                  </a:lnTo>
                  <a:lnTo>
                    <a:pt x="36016" y="125015"/>
                  </a:lnTo>
                  <a:lnTo>
                    <a:pt x="51960" y="125015"/>
                  </a:lnTo>
                  <a:lnTo>
                    <a:pt x="48666" y="141684"/>
                  </a:lnTo>
                  <a:close/>
                </a:path>
                <a:path w="925195" h="144780">
                  <a:moveTo>
                    <a:pt x="51960" y="125015"/>
                  </a:moveTo>
                  <a:lnTo>
                    <a:pt x="36016" y="125015"/>
                  </a:lnTo>
                  <a:lnTo>
                    <a:pt x="52238" y="47625"/>
                  </a:lnTo>
                  <a:lnTo>
                    <a:pt x="75604" y="47625"/>
                  </a:lnTo>
                  <a:lnTo>
                    <a:pt x="79497" y="67865"/>
                  </a:lnTo>
                  <a:lnTo>
                    <a:pt x="63251" y="67865"/>
                  </a:lnTo>
                  <a:lnTo>
                    <a:pt x="51960" y="125015"/>
                  </a:lnTo>
                  <a:close/>
                </a:path>
                <a:path w="925195" h="144780">
                  <a:moveTo>
                    <a:pt x="109578" y="125015"/>
                  </a:moveTo>
                  <a:lnTo>
                    <a:pt x="90487" y="125015"/>
                  </a:lnTo>
                  <a:lnTo>
                    <a:pt x="104477" y="47625"/>
                  </a:lnTo>
                  <a:lnTo>
                    <a:pt x="126355" y="47625"/>
                  </a:lnTo>
                  <a:lnTo>
                    <a:pt x="109578" y="125015"/>
                  </a:lnTo>
                  <a:close/>
                </a:path>
                <a:path w="925195" h="144780">
                  <a:moveTo>
                    <a:pt x="105965" y="141684"/>
                  </a:moveTo>
                  <a:lnTo>
                    <a:pt x="77539" y="141684"/>
                  </a:lnTo>
                  <a:lnTo>
                    <a:pt x="63251" y="67865"/>
                  </a:lnTo>
                  <a:lnTo>
                    <a:pt x="79497" y="67865"/>
                  </a:lnTo>
                  <a:lnTo>
                    <a:pt x="90487" y="125015"/>
                  </a:lnTo>
                  <a:lnTo>
                    <a:pt x="109578" y="125015"/>
                  </a:lnTo>
                  <a:lnTo>
                    <a:pt x="105965" y="141684"/>
                  </a:lnTo>
                  <a:close/>
                </a:path>
                <a:path w="925195" h="144780">
                  <a:moveTo>
                    <a:pt x="164811" y="141684"/>
                  </a:moveTo>
                  <a:lnTo>
                    <a:pt x="142041" y="141684"/>
                  </a:lnTo>
                  <a:lnTo>
                    <a:pt x="142041" y="47625"/>
                  </a:lnTo>
                  <a:lnTo>
                    <a:pt x="164811" y="47625"/>
                  </a:lnTo>
                  <a:lnTo>
                    <a:pt x="164811" y="141684"/>
                  </a:lnTo>
                  <a:close/>
                </a:path>
                <a:path w="925195" h="144780">
                  <a:moveTo>
                    <a:pt x="157469" y="27533"/>
                  </a:moveTo>
                  <a:lnTo>
                    <a:pt x="149135" y="27533"/>
                  </a:lnTo>
                  <a:lnTo>
                    <a:pt x="145761" y="26243"/>
                  </a:lnTo>
                  <a:lnTo>
                    <a:pt x="140403" y="21083"/>
                  </a:lnTo>
                  <a:lnTo>
                    <a:pt x="139064" y="17859"/>
                  </a:lnTo>
                  <a:lnTo>
                    <a:pt x="139064" y="10021"/>
                  </a:lnTo>
                  <a:lnTo>
                    <a:pt x="140403" y="6697"/>
                  </a:lnTo>
                  <a:lnTo>
                    <a:pt x="145761" y="1339"/>
                  </a:lnTo>
                  <a:lnTo>
                    <a:pt x="149135" y="0"/>
                  </a:lnTo>
                  <a:lnTo>
                    <a:pt x="157469" y="0"/>
                  </a:lnTo>
                  <a:lnTo>
                    <a:pt x="160942" y="1339"/>
                  </a:lnTo>
                  <a:lnTo>
                    <a:pt x="166300" y="6697"/>
                  </a:lnTo>
                  <a:lnTo>
                    <a:pt x="167639" y="10021"/>
                  </a:lnTo>
                  <a:lnTo>
                    <a:pt x="167639" y="17859"/>
                  </a:lnTo>
                  <a:lnTo>
                    <a:pt x="166300" y="21083"/>
                  </a:lnTo>
                  <a:lnTo>
                    <a:pt x="160942" y="26243"/>
                  </a:lnTo>
                  <a:lnTo>
                    <a:pt x="157469" y="27533"/>
                  </a:lnTo>
                  <a:close/>
                </a:path>
                <a:path w="925195" h="144780">
                  <a:moveTo>
                    <a:pt x="216858" y="47625"/>
                  </a:moveTo>
                  <a:lnTo>
                    <a:pt x="194087" y="47625"/>
                  </a:lnTo>
                  <a:lnTo>
                    <a:pt x="194087" y="26937"/>
                  </a:lnTo>
                  <a:lnTo>
                    <a:pt x="216858" y="24258"/>
                  </a:lnTo>
                  <a:lnTo>
                    <a:pt x="216858" y="47625"/>
                  </a:lnTo>
                  <a:close/>
                </a:path>
                <a:path w="925195" h="144780">
                  <a:moveTo>
                    <a:pt x="236354" y="63996"/>
                  </a:moveTo>
                  <a:lnTo>
                    <a:pt x="179353" y="63996"/>
                  </a:lnTo>
                  <a:lnTo>
                    <a:pt x="179353" y="47625"/>
                  </a:lnTo>
                  <a:lnTo>
                    <a:pt x="238735" y="47625"/>
                  </a:lnTo>
                  <a:lnTo>
                    <a:pt x="236354" y="63996"/>
                  </a:lnTo>
                  <a:close/>
                </a:path>
                <a:path w="925195" h="144780">
                  <a:moveTo>
                    <a:pt x="226631" y="144363"/>
                  </a:moveTo>
                  <a:lnTo>
                    <a:pt x="222364" y="144363"/>
                  </a:lnTo>
                  <a:lnTo>
                    <a:pt x="213137" y="144264"/>
                  </a:lnTo>
                  <a:lnTo>
                    <a:pt x="206092" y="141634"/>
                  </a:lnTo>
                  <a:lnTo>
                    <a:pt x="201231" y="136475"/>
                  </a:lnTo>
                  <a:lnTo>
                    <a:pt x="196468" y="131315"/>
                  </a:lnTo>
                  <a:lnTo>
                    <a:pt x="194087" y="123676"/>
                  </a:lnTo>
                  <a:lnTo>
                    <a:pt x="194087" y="63996"/>
                  </a:lnTo>
                  <a:lnTo>
                    <a:pt x="216858" y="63996"/>
                  </a:lnTo>
                  <a:lnTo>
                    <a:pt x="216858" y="117673"/>
                  </a:lnTo>
                  <a:lnTo>
                    <a:pt x="217651" y="120997"/>
                  </a:lnTo>
                  <a:lnTo>
                    <a:pt x="219239" y="123080"/>
                  </a:lnTo>
                  <a:lnTo>
                    <a:pt x="220826" y="125065"/>
                  </a:lnTo>
                  <a:lnTo>
                    <a:pt x="223356" y="126057"/>
                  </a:lnTo>
                  <a:lnTo>
                    <a:pt x="239877" y="126057"/>
                  </a:lnTo>
                  <a:lnTo>
                    <a:pt x="246028" y="137219"/>
                  </a:lnTo>
                  <a:lnTo>
                    <a:pt x="242655" y="139600"/>
                  </a:lnTo>
                  <a:lnTo>
                    <a:pt x="238934" y="141386"/>
                  </a:lnTo>
                  <a:lnTo>
                    <a:pt x="230798" y="143767"/>
                  </a:lnTo>
                  <a:lnTo>
                    <a:pt x="226631" y="144363"/>
                  </a:lnTo>
                  <a:close/>
                </a:path>
                <a:path w="925195" h="144780">
                  <a:moveTo>
                    <a:pt x="239877" y="126057"/>
                  </a:moveTo>
                  <a:lnTo>
                    <a:pt x="230203" y="126057"/>
                  </a:lnTo>
                  <a:lnTo>
                    <a:pt x="233923" y="124916"/>
                  </a:lnTo>
                  <a:lnTo>
                    <a:pt x="237991" y="122634"/>
                  </a:lnTo>
                  <a:lnTo>
                    <a:pt x="239877" y="126057"/>
                  </a:lnTo>
                  <a:close/>
                </a:path>
                <a:path w="925195" h="144780">
                  <a:moveTo>
                    <a:pt x="281561" y="141684"/>
                  </a:moveTo>
                  <a:lnTo>
                    <a:pt x="258790" y="141684"/>
                  </a:lnTo>
                  <a:lnTo>
                    <a:pt x="258790" y="10120"/>
                  </a:lnTo>
                  <a:lnTo>
                    <a:pt x="281561" y="7887"/>
                  </a:lnTo>
                  <a:lnTo>
                    <a:pt x="281561" y="58935"/>
                  </a:lnTo>
                  <a:lnTo>
                    <a:pt x="333609" y="58935"/>
                  </a:lnTo>
                  <a:lnTo>
                    <a:pt x="334673" y="62061"/>
                  </a:lnTo>
                  <a:lnTo>
                    <a:pt x="297436" y="62061"/>
                  </a:lnTo>
                  <a:lnTo>
                    <a:pt x="293963" y="63301"/>
                  </a:lnTo>
                  <a:lnTo>
                    <a:pt x="290788" y="65782"/>
                  </a:lnTo>
                  <a:lnTo>
                    <a:pt x="287613" y="68163"/>
                  </a:lnTo>
                  <a:lnTo>
                    <a:pt x="284537" y="71586"/>
                  </a:lnTo>
                  <a:lnTo>
                    <a:pt x="281561" y="76051"/>
                  </a:lnTo>
                  <a:lnTo>
                    <a:pt x="281561" y="141684"/>
                  </a:lnTo>
                  <a:close/>
                </a:path>
                <a:path w="925195" h="144780">
                  <a:moveTo>
                    <a:pt x="333609" y="58935"/>
                  </a:moveTo>
                  <a:lnTo>
                    <a:pt x="281561" y="58935"/>
                  </a:lnTo>
                  <a:lnTo>
                    <a:pt x="287514" y="52815"/>
                  </a:lnTo>
                  <a:lnTo>
                    <a:pt x="294062" y="48443"/>
                  </a:lnTo>
                  <a:lnTo>
                    <a:pt x="301206" y="45820"/>
                  </a:lnTo>
                  <a:lnTo>
                    <a:pt x="308945" y="44946"/>
                  </a:lnTo>
                  <a:lnTo>
                    <a:pt x="317180" y="44946"/>
                  </a:lnTo>
                  <a:lnTo>
                    <a:pt x="323679" y="47525"/>
                  </a:lnTo>
                  <a:lnTo>
                    <a:pt x="328564" y="52815"/>
                  </a:lnTo>
                  <a:lnTo>
                    <a:pt x="333204" y="57745"/>
                  </a:lnTo>
                  <a:lnTo>
                    <a:pt x="333609" y="58935"/>
                  </a:lnTo>
                  <a:close/>
                </a:path>
                <a:path w="925195" h="144780">
                  <a:moveTo>
                    <a:pt x="335585" y="141684"/>
                  </a:moveTo>
                  <a:lnTo>
                    <a:pt x="312815" y="141684"/>
                  </a:lnTo>
                  <a:lnTo>
                    <a:pt x="312815" y="71586"/>
                  </a:lnTo>
                  <a:lnTo>
                    <a:pt x="311822" y="67667"/>
                  </a:lnTo>
                  <a:lnTo>
                    <a:pt x="309838" y="65484"/>
                  </a:lnTo>
                  <a:lnTo>
                    <a:pt x="307953" y="63202"/>
                  </a:lnTo>
                  <a:lnTo>
                    <a:pt x="305076" y="62061"/>
                  </a:lnTo>
                  <a:lnTo>
                    <a:pt x="334673" y="62061"/>
                  </a:lnTo>
                  <a:lnTo>
                    <a:pt x="335585" y="64740"/>
                  </a:lnTo>
                  <a:lnTo>
                    <a:pt x="335585" y="141684"/>
                  </a:lnTo>
                  <a:close/>
                </a:path>
                <a:path w="925195" h="144780">
                  <a:moveTo>
                    <a:pt x="480873" y="126206"/>
                  </a:moveTo>
                  <a:lnTo>
                    <a:pt x="446246" y="126206"/>
                  </a:lnTo>
                  <a:lnTo>
                    <a:pt x="451703" y="124618"/>
                  </a:lnTo>
                  <a:lnTo>
                    <a:pt x="460037" y="118268"/>
                  </a:lnTo>
                  <a:lnTo>
                    <a:pt x="462007" y="114002"/>
                  </a:lnTo>
                  <a:lnTo>
                    <a:pt x="462121" y="104328"/>
                  </a:lnTo>
                  <a:lnTo>
                    <a:pt x="461377" y="101401"/>
                  </a:lnTo>
                  <a:lnTo>
                    <a:pt x="459872" y="99091"/>
                  </a:lnTo>
                  <a:lnTo>
                    <a:pt x="458500" y="96837"/>
                  </a:lnTo>
                  <a:lnTo>
                    <a:pt x="456069" y="94803"/>
                  </a:lnTo>
                  <a:lnTo>
                    <a:pt x="452596" y="93017"/>
                  </a:lnTo>
                  <a:lnTo>
                    <a:pt x="449223" y="91132"/>
                  </a:lnTo>
                  <a:lnTo>
                    <a:pt x="444262" y="89148"/>
                  </a:lnTo>
                  <a:lnTo>
                    <a:pt x="437713" y="87064"/>
                  </a:lnTo>
                  <a:lnTo>
                    <a:pt x="428635" y="83929"/>
                  </a:lnTo>
                  <a:lnTo>
                    <a:pt x="400804" y="59382"/>
                  </a:lnTo>
                  <a:lnTo>
                    <a:pt x="400804" y="43408"/>
                  </a:lnTo>
                  <a:lnTo>
                    <a:pt x="402540" y="37504"/>
                  </a:lnTo>
                  <a:lnTo>
                    <a:pt x="409585" y="27285"/>
                  </a:lnTo>
                  <a:lnTo>
                    <a:pt x="414546" y="23316"/>
                  </a:lnTo>
                  <a:lnTo>
                    <a:pt x="420896" y="20538"/>
                  </a:lnTo>
                  <a:lnTo>
                    <a:pt x="427246" y="17660"/>
                  </a:lnTo>
                  <a:lnTo>
                    <a:pt x="434439" y="16222"/>
                  </a:lnTo>
                  <a:lnTo>
                    <a:pt x="451108" y="16222"/>
                  </a:lnTo>
                  <a:lnTo>
                    <a:pt x="458599" y="17462"/>
                  </a:lnTo>
                  <a:lnTo>
                    <a:pt x="471398" y="22423"/>
                  </a:lnTo>
                  <a:lnTo>
                    <a:pt x="477450" y="26243"/>
                  </a:lnTo>
                  <a:lnTo>
                    <a:pt x="483106" y="31402"/>
                  </a:lnTo>
                  <a:lnTo>
                    <a:pt x="480628" y="34230"/>
                  </a:lnTo>
                  <a:lnTo>
                    <a:pt x="438309" y="34230"/>
                  </a:lnTo>
                  <a:lnTo>
                    <a:pt x="433695" y="35520"/>
                  </a:lnTo>
                  <a:lnTo>
                    <a:pt x="426650" y="40580"/>
                  </a:lnTo>
                  <a:lnTo>
                    <a:pt x="424914" y="44152"/>
                  </a:lnTo>
                  <a:lnTo>
                    <a:pt x="424914" y="51891"/>
                  </a:lnTo>
                  <a:lnTo>
                    <a:pt x="450215" y="67865"/>
                  </a:lnTo>
                  <a:lnTo>
                    <a:pt x="458661" y="70935"/>
                  </a:lnTo>
                  <a:lnTo>
                    <a:pt x="485954" y="99119"/>
                  </a:lnTo>
                  <a:lnTo>
                    <a:pt x="486529" y="106709"/>
                  </a:lnTo>
                  <a:lnTo>
                    <a:pt x="486529" y="114051"/>
                  </a:lnTo>
                  <a:lnTo>
                    <a:pt x="484644" y="120550"/>
                  </a:lnTo>
                  <a:lnTo>
                    <a:pt x="480873" y="126206"/>
                  </a:lnTo>
                  <a:close/>
                </a:path>
                <a:path w="925195" h="144780">
                  <a:moveTo>
                    <a:pt x="471497" y="44648"/>
                  </a:moveTo>
                  <a:lnTo>
                    <a:pt x="467132" y="40977"/>
                  </a:lnTo>
                  <a:lnTo>
                    <a:pt x="462716" y="38348"/>
                  </a:lnTo>
                  <a:lnTo>
                    <a:pt x="458251" y="36760"/>
                  </a:lnTo>
                  <a:lnTo>
                    <a:pt x="453787" y="35073"/>
                  </a:lnTo>
                  <a:lnTo>
                    <a:pt x="449024" y="34230"/>
                  </a:lnTo>
                  <a:lnTo>
                    <a:pt x="480628" y="34230"/>
                  </a:lnTo>
                  <a:lnTo>
                    <a:pt x="471497" y="44648"/>
                  </a:lnTo>
                  <a:close/>
                </a:path>
                <a:path w="925195" h="144780">
                  <a:moveTo>
                    <a:pt x="449619" y="144363"/>
                  </a:moveTo>
                  <a:lnTo>
                    <a:pt x="440094" y="144363"/>
                  </a:lnTo>
                  <a:lnTo>
                    <a:pt x="433211" y="144084"/>
                  </a:lnTo>
                  <a:lnTo>
                    <a:pt x="395744" y="127396"/>
                  </a:lnTo>
                  <a:lnTo>
                    <a:pt x="407799" y="114002"/>
                  </a:lnTo>
                  <a:lnTo>
                    <a:pt x="412561" y="117971"/>
                  </a:lnTo>
                  <a:lnTo>
                    <a:pt x="417473" y="120997"/>
                  </a:lnTo>
                  <a:lnTo>
                    <a:pt x="427692" y="125164"/>
                  </a:lnTo>
                  <a:lnTo>
                    <a:pt x="433348" y="126206"/>
                  </a:lnTo>
                  <a:lnTo>
                    <a:pt x="480873" y="126206"/>
                  </a:lnTo>
                  <a:lnTo>
                    <a:pt x="477202" y="131861"/>
                  </a:lnTo>
                  <a:lnTo>
                    <a:pt x="471844" y="136326"/>
                  </a:lnTo>
                  <a:lnTo>
                    <a:pt x="457855" y="142775"/>
                  </a:lnTo>
                  <a:lnTo>
                    <a:pt x="449619" y="144363"/>
                  </a:lnTo>
                  <a:close/>
                </a:path>
                <a:path w="925195" h="144780">
                  <a:moveTo>
                    <a:pt x="521458" y="141684"/>
                  </a:moveTo>
                  <a:lnTo>
                    <a:pt x="498687" y="141684"/>
                  </a:lnTo>
                  <a:lnTo>
                    <a:pt x="508510" y="18901"/>
                  </a:lnTo>
                  <a:lnTo>
                    <a:pt x="538722" y="18901"/>
                  </a:lnTo>
                  <a:lnTo>
                    <a:pt x="544060" y="40034"/>
                  </a:lnTo>
                  <a:lnTo>
                    <a:pt x="525179" y="40034"/>
                  </a:lnTo>
                  <a:lnTo>
                    <a:pt x="525377" y="47873"/>
                  </a:lnTo>
                  <a:lnTo>
                    <a:pt x="525411" y="65912"/>
                  </a:lnTo>
                  <a:lnTo>
                    <a:pt x="525216" y="74190"/>
                  </a:lnTo>
                  <a:lnTo>
                    <a:pt x="524890" y="82581"/>
                  </a:lnTo>
                  <a:lnTo>
                    <a:pt x="524435" y="91082"/>
                  </a:lnTo>
                  <a:lnTo>
                    <a:pt x="521458" y="141684"/>
                  </a:lnTo>
                  <a:close/>
                </a:path>
                <a:path w="925195" h="144780">
                  <a:moveTo>
                    <a:pt x="577126" y="104923"/>
                  </a:moveTo>
                  <a:lnTo>
                    <a:pt x="560451" y="104923"/>
                  </a:lnTo>
                  <a:lnTo>
                    <a:pt x="581138" y="18901"/>
                  </a:lnTo>
                  <a:lnTo>
                    <a:pt x="611648" y="18901"/>
                  </a:lnTo>
                  <a:lnTo>
                    <a:pt x="613325" y="40183"/>
                  </a:lnTo>
                  <a:lnTo>
                    <a:pt x="593640" y="40183"/>
                  </a:lnTo>
                  <a:lnTo>
                    <a:pt x="577126" y="104923"/>
                  </a:lnTo>
                  <a:close/>
                </a:path>
                <a:path w="925195" h="144780">
                  <a:moveTo>
                    <a:pt x="571167" y="128289"/>
                  </a:moveTo>
                  <a:lnTo>
                    <a:pt x="548991" y="128289"/>
                  </a:lnTo>
                  <a:lnTo>
                    <a:pt x="525179" y="40034"/>
                  </a:lnTo>
                  <a:lnTo>
                    <a:pt x="544060" y="40034"/>
                  </a:lnTo>
                  <a:lnTo>
                    <a:pt x="560451" y="104923"/>
                  </a:lnTo>
                  <a:lnTo>
                    <a:pt x="577126" y="104923"/>
                  </a:lnTo>
                  <a:lnTo>
                    <a:pt x="571167" y="128289"/>
                  </a:lnTo>
                  <a:close/>
                </a:path>
                <a:path w="925195" h="144780">
                  <a:moveTo>
                    <a:pt x="621322" y="141684"/>
                  </a:moveTo>
                  <a:lnTo>
                    <a:pt x="598402" y="141684"/>
                  </a:lnTo>
                  <a:lnTo>
                    <a:pt x="595128" y="90338"/>
                  </a:lnTo>
                  <a:lnTo>
                    <a:pt x="594477" y="77279"/>
                  </a:lnTo>
                  <a:lnTo>
                    <a:pt x="594012" y="65633"/>
                  </a:lnTo>
                  <a:lnTo>
                    <a:pt x="593733" y="55401"/>
                  </a:lnTo>
                  <a:lnTo>
                    <a:pt x="593640" y="40183"/>
                  </a:lnTo>
                  <a:lnTo>
                    <a:pt x="613325" y="40183"/>
                  </a:lnTo>
                  <a:lnTo>
                    <a:pt x="621322" y="141684"/>
                  </a:lnTo>
                  <a:close/>
                </a:path>
                <a:path w="925195" h="144780">
                  <a:moveTo>
                    <a:pt x="689152" y="144363"/>
                  </a:moveTo>
                  <a:lnTo>
                    <a:pt x="649861" y="127731"/>
                  </a:lnTo>
                  <a:lnTo>
                    <a:pt x="635685" y="90124"/>
                  </a:lnTo>
                  <a:lnTo>
                    <a:pt x="635282" y="80218"/>
                  </a:lnTo>
                  <a:lnTo>
                    <a:pt x="635685" y="70739"/>
                  </a:lnTo>
                  <a:lnTo>
                    <a:pt x="649861" y="33263"/>
                  </a:lnTo>
                  <a:lnTo>
                    <a:pt x="689152" y="16222"/>
                  </a:lnTo>
                  <a:lnTo>
                    <a:pt x="697232" y="16705"/>
                  </a:lnTo>
                  <a:lnTo>
                    <a:pt x="729479" y="34230"/>
                  </a:lnTo>
                  <a:lnTo>
                    <a:pt x="679726" y="34230"/>
                  </a:lnTo>
                  <a:lnTo>
                    <a:pt x="672483" y="37951"/>
                  </a:lnTo>
                  <a:lnTo>
                    <a:pt x="659981" y="80367"/>
                  </a:lnTo>
                  <a:lnTo>
                    <a:pt x="661805" y="100486"/>
                  </a:lnTo>
                  <a:lnTo>
                    <a:pt x="667274" y="114858"/>
                  </a:lnTo>
                  <a:lnTo>
                    <a:pt x="676390" y="123480"/>
                  </a:lnTo>
                  <a:lnTo>
                    <a:pt x="689152" y="126355"/>
                  </a:lnTo>
                  <a:lnTo>
                    <a:pt x="729015" y="126355"/>
                  </a:lnTo>
                  <a:lnTo>
                    <a:pt x="728256" y="127396"/>
                  </a:lnTo>
                  <a:lnTo>
                    <a:pt x="697068" y="143888"/>
                  </a:lnTo>
                  <a:lnTo>
                    <a:pt x="689152" y="144363"/>
                  </a:lnTo>
                  <a:close/>
                </a:path>
                <a:path w="925195" h="144780">
                  <a:moveTo>
                    <a:pt x="729015" y="126355"/>
                  </a:moveTo>
                  <a:lnTo>
                    <a:pt x="698677" y="126355"/>
                  </a:lnTo>
                  <a:lnTo>
                    <a:pt x="705870" y="122683"/>
                  </a:lnTo>
                  <a:lnTo>
                    <a:pt x="710732" y="115341"/>
                  </a:lnTo>
                  <a:lnTo>
                    <a:pt x="713987" y="109016"/>
                  </a:lnTo>
                  <a:lnTo>
                    <a:pt x="716313" y="101054"/>
                  </a:lnTo>
                  <a:lnTo>
                    <a:pt x="717708" y="91454"/>
                  </a:lnTo>
                  <a:lnTo>
                    <a:pt x="718173" y="80218"/>
                  </a:lnTo>
                  <a:lnTo>
                    <a:pt x="717708" y="69046"/>
                  </a:lnTo>
                  <a:lnTo>
                    <a:pt x="698677" y="34230"/>
                  </a:lnTo>
                  <a:lnTo>
                    <a:pt x="729479" y="34230"/>
                  </a:lnTo>
                  <a:lnTo>
                    <a:pt x="742469" y="70460"/>
                  </a:lnTo>
                  <a:lnTo>
                    <a:pt x="742872" y="80367"/>
                  </a:lnTo>
                  <a:lnTo>
                    <a:pt x="742460" y="89910"/>
                  </a:lnTo>
                  <a:lnTo>
                    <a:pt x="741204" y="98896"/>
                  </a:lnTo>
                  <a:lnTo>
                    <a:pt x="739112" y="107174"/>
                  </a:lnTo>
                  <a:lnTo>
                    <a:pt x="736181" y="114746"/>
                  </a:lnTo>
                  <a:lnTo>
                    <a:pt x="732563" y="121480"/>
                  </a:lnTo>
                  <a:lnTo>
                    <a:pt x="729015" y="126355"/>
                  </a:lnTo>
                  <a:close/>
                </a:path>
                <a:path w="925195" h="144780">
                  <a:moveTo>
                    <a:pt x="835039" y="37504"/>
                  </a:moveTo>
                  <a:lnTo>
                    <a:pt x="746338" y="37504"/>
                  </a:lnTo>
                  <a:lnTo>
                    <a:pt x="746338" y="18901"/>
                  </a:lnTo>
                  <a:lnTo>
                    <a:pt x="837569" y="18901"/>
                  </a:lnTo>
                  <a:lnTo>
                    <a:pt x="835039" y="37504"/>
                  </a:lnTo>
                  <a:close/>
                </a:path>
                <a:path w="925195" h="144780">
                  <a:moveTo>
                    <a:pt x="803041" y="141684"/>
                  </a:moveTo>
                  <a:lnTo>
                    <a:pt x="779377" y="141684"/>
                  </a:lnTo>
                  <a:lnTo>
                    <a:pt x="779377" y="37504"/>
                  </a:lnTo>
                  <a:lnTo>
                    <a:pt x="803041" y="37504"/>
                  </a:lnTo>
                  <a:lnTo>
                    <a:pt x="803041" y="141684"/>
                  </a:lnTo>
                  <a:close/>
                </a:path>
                <a:path w="925195" h="144780">
                  <a:moveTo>
                    <a:pt x="924756" y="141684"/>
                  </a:moveTo>
                  <a:lnTo>
                    <a:pt x="852872" y="141684"/>
                  </a:lnTo>
                  <a:lnTo>
                    <a:pt x="852872" y="18901"/>
                  </a:lnTo>
                  <a:lnTo>
                    <a:pt x="924160" y="18901"/>
                  </a:lnTo>
                  <a:lnTo>
                    <a:pt x="921630" y="36314"/>
                  </a:lnTo>
                  <a:lnTo>
                    <a:pt x="876238" y="36314"/>
                  </a:lnTo>
                  <a:lnTo>
                    <a:pt x="876238" y="70544"/>
                  </a:lnTo>
                  <a:lnTo>
                    <a:pt x="915677" y="70544"/>
                  </a:lnTo>
                  <a:lnTo>
                    <a:pt x="915677" y="87957"/>
                  </a:lnTo>
                  <a:lnTo>
                    <a:pt x="876238" y="87957"/>
                  </a:lnTo>
                  <a:lnTo>
                    <a:pt x="876238" y="124122"/>
                  </a:lnTo>
                  <a:lnTo>
                    <a:pt x="924756" y="124122"/>
                  </a:lnTo>
                  <a:lnTo>
                    <a:pt x="924756" y="141684"/>
                  </a:lnTo>
                  <a:close/>
                </a:path>
              </a:pathLst>
            </a:custGeom>
            <a:solidFill>
              <a:srgbClr val="000000"/>
            </a:solidFill>
          </p:spPr>
          <p:txBody>
            <a:bodyPr wrap="square" lIns="0" tIns="0" rIns="0" bIns="0" rtlCol="0"/>
            <a:lstStyle/>
            <a:p>
              <a:endParaRPr/>
            </a:p>
          </p:txBody>
        </p:sp>
      </p:grpSp>
      <p:sp>
        <p:nvSpPr>
          <p:cNvPr id="36" name="object 36"/>
          <p:cNvSpPr txBox="1"/>
          <p:nvPr/>
        </p:nvSpPr>
        <p:spPr>
          <a:xfrm>
            <a:off x="3838684" y="1569107"/>
            <a:ext cx="1136650" cy="628650"/>
          </a:xfrm>
          <a:prstGeom prst="rect">
            <a:avLst/>
          </a:prstGeom>
        </p:spPr>
        <p:txBody>
          <a:bodyPr vert="horz" wrap="square" lIns="0" tIns="15240" rIns="0" bIns="0" rtlCol="0">
            <a:spAutoFit/>
          </a:bodyPr>
          <a:lstStyle/>
          <a:p>
            <a:pPr marL="12065" marR="5080" algn="ctr">
              <a:lnSpc>
                <a:spcPct val="98400"/>
              </a:lnSpc>
              <a:spcBef>
                <a:spcPts val="120"/>
              </a:spcBef>
            </a:pPr>
            <a:r>
              <a:rPr sz="1200" b="1" spc="-70" dirty="0">
                <a:solidFill>
                  <a:srgbClr val="FFFFFF"/>
                </a:solidFill>
                <a:latin typeface="Trebuchet MS"/>
                <a:cs typeface="Trebuchet MS"/>
              </a:rPr>
              <a:t>C</a:t>
            </a:r>
            <a:r>
              <a:rPr sz="1200" b="1" spc="-20" dirty="0">
                <a:solidFill>
                  <a:srgbClr val="FFFFFF"/>
                </a:solidFill>
                <a:latin typeface="Trebuchet MS"/>
                <a:cs typeface="Trebuchet MS"/>
              </a:rPr>
              <a:t>ount</a:t>
            </a:r>
            <a:r>
              <a:rPr sz="1200" b="1" spc="-55" dirty="0">
                <a:solidFill>
                  <a:srgbClr val="FFFFFF"/>
                </a:solidFill>
                <a:latin typeface="Trebuchet MS"/>
                <a:cs typeface="Trebuchet MS"/>
              </a:rPr>
              <a:t>V</a:t>
            </a:r>
            <a:r>
              <a:rPr sz="1200" b="1" spc="-30" dirty="0">
                <a:solidFill>
                  <a:srgbClr val="FFFFFF"/>
                </a:solidFill>
                <a:latin typeface="Trebuchet MS"/>
                <a:cs typeface="Trebuchet MS"/>
              </a:rPr>
              <a:t>ec</a:t>
            </a:r>
            <a:r>
              <a:rPr sz="1200" b="1" spc="-50" dirty="0">
                <a:solidFill>
                  <a:srgbClr val="FFFFFF"/>
                </a:solidFill>
                <a:latin typeface="Trebuchet MS"/>
                <a:cs typeface="Trebuchet MS"/>
              </a:rPr>
              <a:t>t</a:t>
            </a:r>
            <a:r>
              <a:rPr sz="1200" b="1" spc="-30" dirty="0">
                <a:solidFill>
                  <a:srgbClr val="FFFFFF"/>
                </a:solidFill>
                <a:latin typeface="Trebuchet MS"/>
                <a:cs typeface="Trebuchet MS"/>
              </a:rPr>
              <a:t>ori</a:t>
            </a:r>
            <a:r>
              <a:rPr sz="1200" b="1" spc="-45" dirty="0">
                <a:solidFill>
                  <a:srgbClr val="FFFFFF"/>
                </a:solidFill>
                <a:latin typeface="Trebuchet MS"/>
                <a:cs typeface="Trebuchet MS"/>
              </a:rPr>
              <a:t>z</a:t>
            </a:r>
            <a:r>
              <a:rPr sz="1200" b="1" spc="-25" dirty="0">
                <a:solidFill>
                  <a:srgbClr val="FFFFFF"/>
                </a:solidFill>
                <a:latin typeface="Trebuchet MS"/>
                <a:cs typeface="Trebuchet MS"/>
              </a:rPr>
              <a:t>er  </a:t>
            </a:r>
            <a:r>
              <a:rPr sz="1400" b="1" spc="-5" dirty="0">
                <a:solidFill>
                  <a:srgbClr val="FFFFFF"/>
                </a:solidFill>
                <a:latin typeface="Trebuchet MS"/>
                <a:cs typeface="Trebuchet MS"/>
              </a:rPr>
              <a:t>Logistic </a:t>
            </a:r>
            <a:r>
              <a:rPr sz="1400" b="1" dirty="0">
                <a:solidFill>
                  <a:srgbClr val="FFFFFF"/>
                </a:solidFill>
                <a:latin typeface="Trebuchet MS"/>
                <a:cs typeface="Trebuchet MS"/>
              </a:rPr>
              <a:t> Regression</a:t>
            </a:r>
            <a:endParaRPr sz="1400" dirty="0">
              <a:latin typeface="Trebuchet MS"/>
              <a:cs typeface="Trebuchet MS"/>
            </a:endParaRPr>
          </a:p>
        </p:txBody>
      </p:sp>
      <p:pic>
        <p:nvPicPr>
          <p:cNvPr id="37" name="object 37"/>
          <p:cNvPicPr/>
          <p:nvPr/>
        </p:nvPicPr>
        <p:blipFill>
          <a:blip r:embed="rId18" cstate="print"/>
          <a:stretch>
            <a:fillRect/>
          </a:stretch>
        </p:blipFill>
        <p:spPr>
          <a:xfrm>
            <a:off x="3299133" y="3548132"/>
            <a:ext cx="71609" cy="70600"/>
          </a:xfrm>
          <a:prstGeom prst="rect">
            <a:avLst/>
          </a:prstGeom>
        </p:spPr>
      </p:pic>
      <p:pic>
        <p:nvPicPr>
          <p:cNvPr id="38" name="object 38"/>
          <p:cNvPicPr/>
          <p:nvPr/>
        </p:nvPicPr>
        <p:blipFill>
          <a:blip r:embed="rId25" cstate="print"/>
          <a:stretch>
            <a:fillRect/>
          </a:stretch>
        </p:blipFill>
        <p:spPr>
          <a:xfrm>
            <a:off x="2702307" y="3782980"/>
            <a:ext cx="1277201" cy="144363"/>
          </a:xfrm>
          <a:prstGeom prst="rect">
            <a:avLst/>
          </a:prstGeom>
        </p:spPr>
      </p:pic>
      <p:sp>
        <p:nvSpPr>
          <p:cNvPr id="39" name="object 39"/>
          <p:cNvSpPr/>
          <p:nvPr/>
        </p:nvSpPr>
        <p:spPr>
          <a:xfrm>
            <a:off x="2909687" y="3992530"/>
            <a:ext cx="861694" cy="144780"/>
          </a:xfrm>
          <a:custGeom>
            <a:avLst/>
            <a:gdLst/>
            <a:ahLst/>
            <a:cxnLst/>
            <a:rect l="l" t="t" r="r" b="b"/>
            <a:pathLst>
              <a:path w="861695" h="144779">
                <a:moveTo>
                  <a:pt x="69949" y="141684"/>
                </a:moveTo>
                <a:lnTo>
                  <a:pt x="0" y="141684"/>
                </a:lnTo>
                <a:lnTo>
                  <a:pt x="0" y="18901"/>
                </a:lnTo>
                <a:lnTo>
                  <a:pt x="23366" y="18901"/>
                </a:lnTo>
                <a:lnTo>
                  <a:pt x="23366" y="122485"/>
                </a:lnTo>
                <a:lnTo>
                  <a:pt x="72628" y="122485"/>
                </a:lnTo>
                <a:lnTo>
                  <a:pt x="69949" y="141684"/>
                </a:lnTo>
                <a:close/>
              </a:path>
              <a:path w="861695" h="144779">
                <a:moveTo>
                  <a:pt x="111943" y="141684"/>
                </a:moveTo>
                <a:lnTo>
                  <a:pt x="89172" y="141684"/>
                </a:lnTo>
                <a:lnTo>
                  <a:pt x="89172" y="47625"/>
                </a:lnTo>
                <a:lnTo>
                  <a:pt x="111943" y="47625"/>
                </a:lnTo>
                <a:lnTo>
                  <a:pt x="111943" y="141684"/>
                </a:lnTo>
                <a:close/>
              </a:path>
              <a:path w="861695" h="144779">
                <a:moveTo>
                  <a:pt x="104600" y="27533"/>
                </a:moveTo>
                <a:lnTo>
                  <a:pt x="96266" y="27533"/>
                </a:lnTo>
                <a:lnTo>
                  <a:pt x="92893" y="26243"/>
                </a:lnTo>
                <a:lnTo>
                  <a:pt x="87535" y="21083"/>
                </a:lnTo>
                <a:lnTo>
                  <a:pt x="86195" y="17859"/>
                </a:lnTo>
                <a:lnTo>
                  <a:pt x="86195" y="10021"/>
                </a:lnTo>
                <a:lnTo>
                  <a:pt x="87535" y="6697"/>
                </a:lnTo>
                <a:lnTo>
                  <a:pt x="92893" y="1339"/>
                </a:lnTo>
                <a:lnTo>
                  <a:pt x="96266" y="0"/>
                </a:lnTo>
                <a:lnTo>
                  <a:pt x="104600" y="0"/>
                </a:lnTo>
                <a:lnTo>
                  <a:pt x="108073" y="1339"/>
                </a:lnTo>
                <a:lnTo>
                  <a:pt x="113431" y="6697"/>
                </a:lnTo>
                <a:lnTo>
                  <a:pt x="114770" y="10021"/>
                </a:lnTo>
                <a:lnTo>
                  <a:pt x="114770" y="17859"/>
                </a:lnTo>
                <a:lnTo>
                  <a:pt x="113431" y="21083"/>
                </a:lnTo>
                <a:lnTo>
                  <a:pt x="108073" y="26243"/>
                </a:lnTo>
                <a:lnTo>
                  <a:pt x="104600" y="27533"/>
                </a:lnTo>
                <a:close/>
              </a:path>
              <a:path w="861695" h="144779">
                <a:moveTo>
                  <a:pt x="214503" y="59977"/>
                </a:moveTo>
                <a:lnTo>
                  <a:pt x="160715" y="59977"/>
                </a:lnTo>
                <a:lnTo>
                  <a:pt x="166863" y="53401"/>
                </a:lnTo>
                <a:lnTo>
                  <a:pt x="173700" y="48704"/>
                </a:lnTo>
                <a:lnTo>
                  <a:pt x="181225" y="45885"/>
                </a:lnTo>
                <a:lnTo>
                  <a:pt x="189439" y="44946"/>
                </a:lnTo>
                <a:lnTo>
                  <a:pt x="197773" y="44946"/>
                </a:lnTo>
                <a:lnTo>
                  <a:pt x="204272" y="47476"/>
                </a:lnTo>
                <a:lnTo>
                  <a:pt x="208935" y="52536"/>
                </a:lnTo>
                <a:lnTo>
                  <a:pt x="213698" y="57596"/>
                </a:lnTo>
                <a:lnTo>
                  <a:pt x="214503" y="59977"/>
                </a:lnTo>
                <a:close/>
              </a:path>
              <a:path w="861695" h="144779">
                <a:moveTo>
                  <a:pt x="162054" y="141684"/>
                </a:moveTo>
                <a:lnTo>
                  <a:pt x="139284" y="141684"/>
                </a:lnTo>
                <a:lnTo>
                  <a:pt x="139284" y="47625"/>
                </a:lnTo>
                <a:lnTo>
                  <a:pt x="158929" y="47625"/>
                </a:lnTo>
                <a:lnTo>
                  <a:pt x="160715" y="59977"/>
                </a:lnTo>
                <a:lnTo>
                  <a:pt x="214503" y="59977"/>
                </a:lnTo>
                <a:lnTo>
                  <a:pt x="215207" y="62061"/>
                </a:lnTo>
                <a:lnTo>
                  <a:pt x="177830" y="62061"/>
                </a:lnTo>
                <a:lnTo>
                  <a:pt x="174308" y="63301"/>
                </a:lnTo>
                <a:lnTo>
                  <a:pt x="168057" y="68163"/>
                </a:lnTo>
                <a:lnTo>
                  <a:pt x="165031" y="71685"/>
                </a:lnTo>
                <a:lnTo>
                  <a:pt x="162054" y="76348"/>
                </a:lnTo>
                <a:lnTo>
                  <a:pt x="162054" y="141684"/>
                </a:lnTo>
                <a:close/>
              </a:path>
              <a:path w="861695" h="144779">
                <a:moveTo>
                  <a:pt x="216079" y="141684"/>
                </a:moveTo>
                <a:lnTo>
                  <a:pt x="193308" y="141684"/>
                </a:lnTo>
                <a:lnTo>
                  <a:pt x="193308" y="71586"/>
                </a:lnTo>
                <a:lnTo>
                  <a:pt x="192316" y="67667"/>
                </a:lnTo>
                <a:lnTo>
                  <a:pt x="190332" y="65484"/>
                </a:lnTo>
                <a:lnTo>
                  <a:pt x="188447" y="63202"/>
                </a:lnTo>
                <a:lnTo>
                  <a:pt x="185569" y="62061"/>
                </a:lnTo>
                <a:lnTo>
                  <a:pt x="215207" y="62061"/>
                </a:lnTo>
                <a:lnTo>
                  <a:pt x="216079" y="64641"/>
                </a:lnTo>
                <a:lnTo>
                  <a:pt x="216079" y="141684"/>
                </a:lnTo>
                <a:close/>
              </a:path>
              <a:path w="861695" h="144779">
                <a:moveTo>
                  <a:pt x="281223" y="144363"/>
                </a:moveTo>
                <a:lnTo>
                  <a:pt x="242956" y="124048"/>
                </a:lnTo>
                <a:lnTo>
                  <a:pt x="236523" y="96688"/>
                </a:lnTo>
                <a:lnTo>
                  <a:pt x="236550" y="92422"/>
                </a:lnTo>
                <a:lnTo>
                  <a:pt x="249523" y="55860"/>
                </a:lnTo>
                <a:lnTo>
                  <a:pt x="269614" y="44946"/>
                </a:lnTo>
                <a:lnTo>
                  <a:pt x="278246" y="44946"/>
                </a:lnTo>
                <a:lnTo>
                  <a:pt x="311229" y="61168"/>
                </a:lnTo>
                <a:lnTo>
                  <a:pt x="273186" y="61168"/>
                </a:lnTo>
                <a:lnTo>
                  <a:pt x="268771" y="63251"/>
                </a:lnTo>
                <a:lnTo>
                  <a:pt x="262520" y="71487"/>
                </a:lnTo>
                <a:lnTo>
                  <a:pt x="260685" y="77985"/>
                </a:lnTo>
                <a:lnTo>
                  <a:pt x="260089" y="86915"/>
                </a:lnTo>
                <a:lnTo>
                  <a:pt x="319266" y="86915"/>
                </a:lnTo>
                <a:lnTo>
                  <a:pt x="319621" y="92422"/>
                </a:lnTo>
                <a:lnTo>
                  <a:pt x="319541" y="95250"/>
                </a:lnTo>
                <a:lnTo>
                  <a:pt x="319472" y="96688"/>
                </a:lnTo>
                <a:lnTo>
                  <a:pt x="319174" y="101649"/>
                </a:lnTo>
                <a:lnTo>
                  <a:pt x="260089" y="101649"/>
                </a:lnTo>
                <a:lnTo>
                  <a:pt x="260784" y="110777"/>
                </a:lnTo>
                <a:lnTo>
                  <a:pt x="263165" y="117326"/>
                </a:lnTo>
                <a:lnTo>
                  <a:pt x="267233" y="121294"/>
                </a:lnTo>
                <a:lnTo>
                  <a:pt x="271301" y="125164"/>
                </a:lnTo>
                <a:lnTo>
                  <a:pt x="276609" y="127099"/>
                </a:lnTo>
                <a:lnTo>
                  <a:pt x="312708" y="127099"/>
                </a:lnTo>
                <a:lnTo>
                  <a:pt x="316049" y="131712"/>
                </a:lnTo>
                <a:lnTo>
                  <a:pt x="308012" y="137247"/>
                </a:lnTo>
                <a:lnTo>
                  <a:pt x="299529" y="141200"/>
                </a:lnTo>
                <a:lnTo>
                  <a:pt x="290599" y="143572"/>
                </a:lnTo>
                <a:lnTo>
                  <a:pt x="281223" y="144363"/>
                </a:lnTo>
                <a:close/>
              </a:path>
              <a:path w="861695" h="144779">
                <a:moveTo>
                  <a:pt x="319266" y="86915"/>
                </a:moveTo>
                <a:lnTo>
                  <a:pt x="296999" y="86915"/>
                </a:lnTo>
                <a:lnTo>
                  <a:pt x="296999" y="85873"/>
                </a:lnTo>
                <a:lnTo>
                  <a:pt x="295864" y="75065"/>
                </a:lnTo>
                <a:lnTo>
                  <a:pt x="292460" y="67344"/>
                </a:lnTo>
                <a:lnTo>
                  <a:pt x="286785" y="62712"/>
                </a:lnTo>
                <a:lnTo>
                  <a:pt x="278842" y="61168"/>
                </a:lnTo>
                <a:lnTo>
                  <a:pt x="311229" y="61168"/>
                </a:lnTo>
                <a:lnTo>
                  <a:pt x="313509" y="64461"/>
                </a:lnTo>
                <a:lnTo>
                  <a:pt x="316905" y="72553"/>
                </a:lnTo>
                <a:lnTo>
                  <a:pt x="318942" y="81874"/>
                </a:lnTo>
                <a:lnTo>
                  <a:pt x="319266" y="86915"/>
                </a:lnTo>
                <a:close/>
              </a:path>
              <a:path w="861695" h="144779">
                <a:moveTo>
                  <a:pt x="312708" y="127099"/>
                </a:moveTo>
                <a:lnTo>
                  <a:pt x="287325" y="127099"/>
                </a:lnTo>
                <a:lnTo>
                  <a:pt x="291244" y="126454"/>
                </a:lnTo>
                <a:lnTo>
                  <a:pt x="294915" y="125164"/>
                </a:lnTo>
                <a:lnTo>
                  <a:pt x="298586" y="123775"/>
                </a:lnTo>
                <a:lnTo>
                  <a:pt x="302505" y="121642"/>
                </a:lnTo>
                <a:lnTo>
                  <a:pt x="306673" y="118764"/>
                </a:lnTo>
                <a:lnTo>
                  <a:pt x="312708" y="127099"/>
                </a:lnTo>
                <a:close/>
              </a:path>
              <a:path w="861695" h="144779">
                <a:moveTo>
                  <a:pt x="342921" y="67270"/>
                </a:moveTo>
                <a:lnTo>
                  <a:pt x="371645" y="44946"/>
                </a:lnTo>
                <a:lnTo>
                  <a:pt x="387467" y="46973"/>
                </a:lnTo>
                <a:lnTo>
                  <a:pt x="398769" y="53057"/>
                </a:lnTo>
                <a:lnTo>
                  <a:pt x="404890" y="62210"/>
                </a:lnTo>
                <a:lnTo>
                  <a:pt x="360929" y="62210"/>
                </a:lnTo>
                <a:lnTo>
                  <a:pt x="352645" y="63896"/>
                </a:lnTo>
                <a:lnTo>
                  <a:pt x="342921" y="67270"/>
                </a:lnTo>
                <a:close/>
              </a:path>
              <a:path w="861695" h="144779">
                <a:moveTo>
                  <a:pt x="367180" y="144363"/>
                </a:moveTo>
                <a:lnTo>
                  <a:pt x="351901" y="144363"/>
                </a:lnTo>
                <a:lnTo>
                  <a:pt x="344509" y="141684"/>
                </a:lnTo>
                <a:lnTo>
                  <a:pt x="333595" y="130968"/>
                </a:lnTo>
                <a:lnTo>
                  <a:pt x="330924" y="124122"/>
                </a:lnTo>
                <a:lnTo>
                  <a:pt x="330866" y="115341"/>
                </a:lnTo>
                <a:lnTo>
                  <a:pt x="331554" y="108198"/>
                </a:lnTo>
                <a:lnTo>
                  <a:pt x="363980" y="84450"/>
                </a:lnTo>
                <a:lnTo>
                  <a:pt x="373729" y="83939"/>
                </a:lnTo>
                <a:lnTo>
                  <a:pt x="385337" y="83939"/>
                </a:lnTo>
                <a:lnTo>
                  <a:pt x="385337" y="72528"/>
                </a:lnTo>
                <a:lnTo>
                  <a:pt x="383948" y="68312"/>
                </a:lnTo>
                <a:lnTo>
                  <a:pt x="381170" y="65930"/>
                </a:lnTo>
                <a:lnTo>
                  <a:pt x="378392" y="63450"/>
                </a:lnTo>
                <a:lnTo>
                  <a:pt x="373927" y="62210"/>
                </a:lnTo>
                <a:lnTo>
                  <a:pt x="404890" y="62210"/>
                </a:lnTo>
                <a:lnTo>
                  <a:pt x="405550" y="63196"/>
                </a:lnTo>
                <a:lnTo>
                  <a:pt x="407810" y="77390"/>
                </a:lnTo>
                <a:lnTo>
                  <a:pt x="407810" y="97184"/>
                </a:lnTo>
                <a:lnTo>
                  <a:pt x="375961" y="97184"/>
                </a:lnTo>
                <a:lnTo>
                  <a:pt x="366324" y="98207"/>
                </a:lnTo>
                <a:lnTo>
                  <a:pt x="359441" y="101277"/>
                </a:lnTo>
                <a:lnTo>
                  <a:pt x="355311" y="106393"/>
                </a:lnTo>
                <a:lnTo>
                  <a:pt x="353934" y="113555"/>
                </a:lnTo>
                <a:lnTo>
                  <a:pt x="353934" y="118119"/>
                </a:lnTo>
                <a:lnTo>
                  <a:pt x="355026" y="121642"/>
                </a:lnTo>
                <a:lnTo>
                  <a:pt x="357209" y="124122"/>
                </a:lnTo>
                <a:lnTo>
                  <a:pt x="359491" y="126603"/>
                </a:lnTo>
                <a:lnTo>
                  <a:pt x="362864" y="127843"/>
                </a:lnTo>
                <a:lnTo>
                  <a:pt x="412306" y="127843"/>
                </a:lnTo>
                <a:lnTo>
                  <a:pt x="414954" y="128885"/>
                </a:lnTo>
                <a:lnTo>
                  <a:pt x="414473" y="130373"/>
                </a:lnTo>
                <a:lnTo>
                  <a:pt x="389356" y="130373"/>
                </a:lnTo>
                <a:lnTo>
                  <a:pt x="386081" y="135036"/>
                </a:lnTo>
                <a:lnTo>
                  <a:pt x="382063" y="138558"/>
                </a:lnTo>
                <a:lnTo>
                  <a:pt x="377300" y="140940"/>
                </a:lnTo>
                <a:lnTo>
                  <a:pt x="372538" y="143222"/>
                </a:lnTo>
                <a:lnTo>
                  <a:pt x="367180" y="144363"/>
                </a:lnTo>
                <a:close/>
              </a:path>
              <a:path w="861695" h="144779">
                <a:moveTo>
                  <a:pt x="412306" y="127843"/>
                </a:moveTo>
                <a:lnTo>
                  <a:pt x="374969" y="127843"/>
                </a:lnTo>
                <a:lnTo>
                  <a:pt x="380972" y="123973"/>
                </a:lnTo>
                <a:lnTo>
                  <a:pt x="385337" y="116234"/>
                </a:lnTo>
                <a:lnTo>
                  <a:pt x="385337" y="97184"/>
                </a:lnTo>
                <a:lnTo>
                  <a:pt x="407810" y="97184"/>
                </a:lnTo>
                <a:lnTo>
                  <a:pt x="407810" y="120501"/>
                </a:lnTo>
                <a:lnTo>
                  <a:pt x="408356" y="123180"/>
                </a:lnTo>
                <a:lnTo>
                  <a:pt x="410539" y="126553"/>
                </a:lnTo>
                <a:lnTo>
                  <a:pt x="412306" y="127843"/>
                </a:lnTo>
                <a:close/>
              </a:path>
              <a:path w="861695" h="144779">
                <a:moveTo>
                  <a:pt x="410043" y="144065"/>
                </a:moveTo>
                <a:lnTo>
                  <a:pt x="389356" y="130373"/>
                </a:lnTo>
                <a:lnTo>
                  <a:pt x="414473" y="130373"/>
                </a:lnTo>
                <a:lnTo>
                  <a:pt x="410043" y="144065"/>
                </a:lnTo>
                <a:close/>
              </a:path>
              <a:path w="861695" h="144779">
                <a:moveTo>
                  <a:pt x="487665" y="66228"/>
                </a:moveTo>
                <a:lnTo>
                  <a:pt x="457210" y="66228"/>
                </a:lnTo>
                <a:lnTo>
                  <a:pt x="459393" y="59382"/>
                </a:lnTo>
                <a:lnTo>
                  <a:pt x="462617" y="54173"/>
                </a:lnTo>
                <a:lnTo>
                  <a:pt x="471150" y="47029"/>
                </a:lnTo>
                <a:lnTo>
                  <a:pt x="476111" y="45243"/>
                </a:lnTo>
                <a:lnTo>
                  <a:pt x="485140" y="45243"/>
                </a:lnTo>
                <a:lnTo>
                  <a:pt x="488265" y="45640"/>
                </a:lnTo>
                <a:lnTo>
                  <a:pt x="491143" y="46434"/>
                </a:lnTo>
                <a:lnTo>
                  <a:pt x="487665" y="66228"/>
                </a:lnTo>
                <a:close/>
              </a:path>
              <a:path w="861695" h="144779">
                <a:moveTo>
                  <a:pt x="458103" y="141684"/>
                </a:moveTo>
                <a:lnTo>
                  <a:pt x="435332" y="141684"/>
                </a:lnTo>
                <a:lnTo>
                  <a:pt x="435332" y="47625"/>
                </a:lnTo>
                <a:lnTo>
                  <a:pt x="454977" y="47625"/>
                </a:lnTo>
                <a:lnTo>
                  <a:pt x="457210" y="66228"/>
                </a:lnTo>
                <a:lnTo>
                  <a:pt x="487665" y="66228"/>
                </a:lnTo>
                <a:lnTo>
                  <a:pt x="487456" y="67419"/>
                </a:lnTo>
                <a:lnTo>
                  <a:pt x="473234" y="67419"/>
                </a:lnTo>
                <a:lnTo>
                  <a:pt x="468868" y="69403"/>
                </a:lnTo>
                <a:lnTo>
                  <a:pt x="462518" y="77341"/>
                </a:lnTo>
                <a:lnTo>
                  <a:pt x="459988" y="83393"/>
                </a:lnTo>
                <a:lnTo>
                  <a:pt x="458103" y="91529"/>
                </a:lnTo>
                <a:lnTo>
                  <a:pt x="458103" y="141684"/>
                </a:lnTo>
                <a:close/>
              </a:path>
              <a:path w="861695" h="144779">
                <a:moveTo>
                  <a:pt x="487273" y="68460"/>
                </a:moveTo>
                <a:lnTo>
                  <a:pt x="484396" y="67766"/>
                </a:lnTo>
                <a:lnTo>
                  <a:pt x="481568" y="67419"/>
                </a:lnTo>
                <a:lnTo>
                  <a:pt x="487456" y="67419"/>
                </a:lnTo>
                <a:lnTo>
                  <a:pt x="487273" y="68460"/>
                </a:lnTo>
                <a:close/>
              </a:path>
              <a:path w="861695" h="144779">
                <a:moveTo>
                  <a:pt x="624186" y="126206"/>
                </a:moveTo>
                <a:lnTo>
                  <a:pt x="589558" y="126206"/>
                </a:lnTo>
                <a:lnTo>
                  <a:pt x="595015" y="124618"/>
                </a:lnTo>
                <a:lnTo>
                  <a:pt x="603350" y="118268"/>
                </a:lnTo>
                <a:lnTo>
                  <a:pt x="605319" y="114002"/>
                </a:lnTo>
                <a:lnTo>
                  <a:pt x="605433" y="104328"/>
                </a:lnTo>
                <a:lnTo>
                  <a:pt x="604689" y="101401"/>
                </a:lnTo>
                <a:lnTo>
                  <a:pt x="603184" y="99091"/>
                </a:lnTo>
                <a:lnTo>
                  <a:pt x="601812" y="96837"/>
                </a:lnTo>
                <a:lnTo>
                  <a:pt x="599381" y="94803"/>
                </a:lnTo>
                <a:lnTo>
                  <a:pt x="595908" y="93017"/>
                </a:lnTo>
                <a:lnTo>
                  <a:pt x="592535" y="91132"/>
                </a:lnTo>
                <a:lnTo>
                  <a:pt x="587574" y="89148"/>
                </a:lnTo>
                <a:lnTo>
                  <a:pt x="581025" y="87064"/>
                </a:lnTo>
                <a:lnTo>
                  <a:pt x="571947" y="83929"/>
                </a:lnTo>
                <a:lnTo>
                  <a:pt x="544116" y="59382"/>
                </a:lnTo>
                <a:lnTo>
                  <a:pt x="544116" y="43408"/>
                </a:lnTo>
                <a:lnTo>
                  <a:pt x="545852" y="37504"/>
                </a:lnTo>
                <a:lnTo>
                  <a:pt x="552897" y="27285"/>
                </a:lnTo>
                <a:lnTo>
                  <a:pt x="557858" y="23316"/>
                </a:lnTo>
                <a:lnTo>
                  <a:pt x="564208" y="20538"/>
                </a:lnTo>
                <a:lnTo>
                  <a:pt x="570558" y="17660"/>
                </a:lnTo>
                <a:lnTo>
                  <a:pt x="577751" y="16222"/>
                </a:lnTo>
                <a:lnTo>
                  <a:pt x="594420" y="16222"/>
                </a:lnTo>
                <a:lnTo>
                  <a:pt x="601911" y="17462"/>
                </a:lnTo>
                <a:lnTo>
                  <a:pt x="614710" y="22423"/>
                </a:lnTo>
                <a:lnTo>
                  <a:pt x="620763" y="26243"/>
                </a:lnTo>
                <a:lnTo>
                  <a:pt x="626418" y="31402"/>
                </a:lnTo>
                <a:lnTo>
                  <a:pt x="623940" y="34230"/>
                </a:lnTo>
                <a:lnTo>
                  <a:pt x="581621" y="34230"/>
                </a:lnTo>
                <a:lnTo>
                  <a:pt x="577007" y="35520"/>
                </a:lnTo>
                <a:lnTo>
                  <a:pt x="569962" y="40580"/>
                </a:lnTo>
                <a:lnTo>
                  <a:pt x="568226" y="44152"/>
                </a:lnTo>
                <a:lnTo>
                  <a:pt x="568226" y="51891"/>
                </a:lnTo>
                <a:lnTo>
                  <a:pt x="593527" y="67865"/>
                </a:lnTo>
                <a:lnTo>
                  <a:pt x="601973" y="70935"/>
                </a:lnTo>
                <a:lnTo>
                  <a:pt x="629266" y="99119"/>
                </a:lnTo>
                <a:lnTo>
                  <a:pt x="629841" y="106709"/>
                </a:lnTo>
                <a:lnTo>
                  <a:pt x="629841" y="114051"/>
                </a:lnTo>
                <a:lnTo>
                  <a:pt x="627956" y="120550"/>
                </a:lnTo>
                <a:lnTo>
                  <a:pt x="624186" y="126206"/>
                </a:lnTo>
                <a:close/>
              </a:path>
              <a:path w="861695" h="144779">
                <a:moveTo>
                  <a:pt x="614809" y="44648"/>
                </a:moveTo>
                <a:lnTo>
                  <a:pt x="610444" y="40977"/>
                </a:lnTo>
                <a:lnTo>
                  <a:pt x="606029" y="38348"/>
                </a:lnTo>
                <a:lnTo>
                  <a:pt x="601564" y="36760"/>
                </a:lnTo>
                <a:lnTo>
                  <a:pt x="597099" y="35073"/>
                </a:lnTo>
                <a:lnTo>
                  <a:pt x="592336" y="34230"/>
                </a:lnTo>
                <a:lnTo>
                  <a:pt x="623940" y="34230"/>
                </a:lnTo>
                <a:lnTo>
                  <a:pt x="614809" y="44648"/>
                </a:lnTo>
                <a:close/>
              </a:path>
              <a:path w="861695" h="144779">
                <a:moveTo>
                  <a:pt x="592932" y="144363"/>
                </a:moveTo>
                <a:lnTo>
                  <a:pt x="583407" y="144363"/>
                </a:lnTo>
                <a:lnTo>
                  <a:pt x="576523" y="144084"/>
                </a:lnTo>
                <a:lnTo>
                  <a:pt x="539056" y="127396"/>
                </a:lnTo>
                <a:lnTo>
                  <a:pt x="551111" y="114002"/>
                </a:lnTo>
                <a:lnTo>
                  <a:pt x="555873" y="117971"/>
                </a:lnTo>
                <a:lnTo>
                  <a:pt x="560785" y="120997"/>
                </a:lnTo>
                <a:lnTo>
                  <a:pt x="571004" y="125164"/>
                </a:lnTo>
                <a:lnTo>
                  <a:pt x="576660" y="126206"/>
                </a:lnTo>
                <a:lnTo>
                  <a:pt x="624186" y="126206"/>
                </a:lnTo>
                <a:lnTo>
                  <a:pt x="620514" y="131861"/>
                </a:lnTo>
                <a:lnTo>
                  <a:pt x="615157" y="136326"/>
                </a:lnTo>
                <a:lnTo>
                  <a:pt x="601167" y="142775"/>
                </a:lnTo>
                <a:lnTo>
                  <a:pt x="592932" y="144363"/>
                </a:lnTo>
                <a:close/>
              </a:path>
              <a:path w="861695" h="144779">
                <a:moveTo>
                  <a:pt x="696478" y="141684"/>
                </a:moveTo>
                <a:lnTo>
                  <a:pt x="668648" y="141684"/>
                </a:lnTo>
                <a:lnTo>
                  <a:pt x="631143" y="18901"/>
                </a:lnTo>
                <a:lnTo>
                  <a:pt x="656444" y="18901"/>
                </a:lnTo>
                <a:lnTo>
                  <a:pt x="683084" y="120848"/>
                </a:lnTo>
                <a:lnTo>
                  <a:pt x="702666" y="120848"/>
                </a:lnTo>
                <a:lnTo>
                  <a:pt x="696478" y="141684"/>
                </a:lnTo>
                <a:close/>
              </a:path>
              <a:path w="861695" h="144779">
                <a:moveTo>
                  <a:pt x="702666" y="120848"/>
                </a:moveTo>
                <a:lnTo>
                  <a:pt x="683084" y="120848"/>
                </a:lnTo>
                <a:lnTo>
                  <a:pt x="708980" y="18901"/>
                </a:lnTo>
                <a:lnTo>
                  <a:pt x="732941" y="18901"/>
                </a:lnTo>
                <a:lnTo>
                  <a:pt x="702666" y="120848"/>
                </a:lnTo>
                <a:close/>
              </a:path>
              <a:path w="861695" h="144779">
                <a:moveTo>
                  <a:pt x="761793" y="141684"/>
                </a:moveTo>
                <a:lnTo>
                  <a:pt x="739022" y="141684"/>
                </a:lnTo>
                <a:lnTo>
                  <a:pt x="748845" y="18901"/>
                </a:lnTo>
                <a:lnTo>
                  <a:pt x="779057" y="18901"/>
                </a:lnTo>
                <a:lnTo>
                  <a:pt x="784395" y="40034"/>
                </a:lnTo>
                <a:lnTo>
                  <a:pt x="765514" y="40034"/>
                </a:lnTo>
                <a:lnTo>
                  <a:pt x="765712" y="47873"/>
                </a:lnTo>
                <a:lnTo>
                  <a:pt x="765746" y="65912"/>
                </a:lnTo>
                <a:lnTo>
                  <a:pt x="765551" y="74190"/>
                </a:lnTo>
                <a:lnTo>
                  <a:pt x="765225" y="82581"/>
                </a:lnTo>
                <a:lnTo>
                  <a:pt x="764769" y="91082"/>
                </a:lnTo>
                <a:lnTo>
                  <a:pt x="761793" y="141684"/>
                </a:lnTo>
                <a:close/>
              </a:path>
              <a:path w="861695" h="144779">
                <a:moveTo>
                  <a:pt x="817461" y="104923"/>
                </a:moveTo>
                <a:lnTo>
                  <a:pt x="800786" y="104923"/>
                </a:lnTo>
                <a:lnTo>
                  <a:pt x="821473" y="18901"/>
                </a:lnTo>
                <a:lnTo>
                  <a:pt x="851983" y="18901"/>
                </a:lnTo>
                <a:lnTo>
                  <a:pt x="853659" y="40183"/>
                </a:lnTo>
                <a:lnTo>
                  <a:pt x="833974" y="40183"/>
                </a:lnTo>
                <a:lnTo>
                  <a:pt x="817461" y="104923"/>
                </a:lnTo>
                <a:close/>
              </a:path>
              <a:path w="861695" h="144779">
                <a:moveTo>
                  <a:pt x="811501" y="128289"/>
                </a:moveTo>
                <a:lnTo>
                  <a:pt x="789326" y="128289"/>
                </a:lnTo>
                <a:lnTo>
                  <a:pt x="765514" y="40034"/>
                </a:lnTo>
                <a:lnTo>
                  <a:pt x="784395" y="40034"/>
                </a:lnTo>
                <a:lnTo>
                  <a:pt x="800786" y="104923"/>
                </a:lnTo>
                <a:lnTo>
                  <a:pt x="817461" y="104923"/>
                </a:lnTo>
                <a:lnTo>
                  <a:pt x="811501" y="128289"/>
                </a:lnTo>
                <a:close/>
              </a:path>
              <a:path w="861695" h="144779">
                <a:moveTo>
                  <a:pt x="861657" y="141684"/>
                </a:moveTo>
                <a:lnTo>
                  <a:pt x="838737" y="141684"/>
                </a:lnTo>
                <a:lnTo>
                  <a:pt x="835463" y="90338"/>
                </a:lnTo>
                <a:lnTo>
                  <a:pt x="834812" y="77279"/>
                </a:lnTo>
                <a:lnTo>
                  <a:pt x="834347" y="65633"/>
                </a:lnTo>
                <a:lnTo>
                  <a:pt x="834068" y="55401"/>
                </a:lnTo>
                <a:lnTo>
                  <a:pt x="833974" y="40183"/>
                </a:lnTo>
                <a:lnTo>
                  <a:pt x="853659" y="40183"/>
                </a:lnTo>
                <a:lnTo>
                  <a:pt x="861657" y="141684"/>
                </a:lnTo>
                <a:close/>
              </a:path>
            </a:pathLst>
          </a:custGeom>
          <a:solidFill>
            <a:srgbClr val="000000"/>
          </a:solidFill>
        </p:spPr>
        <p:txBody>
          <a:bodyPr wrap="square" lIns="0" tIns="0" rIns="0" bIns="0" rtlCol="0"/>
          <a:lstStyle/>
          <a:p>
            <a:endParaRPr/>
          </a:p>
        </p:txBody>
      </p:sp>
      <p:grpSp>
        <p:nvGrpSpPr>
          <p:cNvPr id="40" name="object 40"/>
          <p:cNvGrpSpPr/>
          <p:nvPr/>
        </p:nvGrpSpPr>
        <p:grpSpPr>
          <a:xfrm>
            <a:off x="1077022" y="2738685"/>
            <a:ext cx="6936604" cy="483165"/>
            <a:chOff x="1131678" y="2862653"/>
            <a:chExt cx="6936604" cy="483165"/>
          </a:xfrm>
        </p:grpSpPr>
        <p:pic>
          <p:nvPicPr>
            <p:cNvPr id="41" name="object 41"/>
            <p:cNvPicPr/>
            <p:nvPr/>
          </p:nvPicPr>
          <p:blipFill>
            <a:blip r:embed="rId26" cstate="print"/>
            <a:stretch>
              <a:fillRect/>
            </a:stretch>
          </p:blipFill>
          <p:spPr>
            <a:xfrm>
              <a:off x="6865534" y="2980104"/>
              <a:ext cx="215743" cy="215774"/>
            </a:xfrm>
            <a:prstGeom prst="rect">
              <a:avLst/>
            </a:prstGeom>
          </p:spPr>
        </p:pic>
        <p:pic>
          <p:nvPicPr>
            <p:cNvPr id="42" name="object 42"/>
            <p:cNvPicPr/>
            <p:nvPr/>
          </p:nvPicPr>
          <p:blipFill>
            <a:blip r:embed="rId17" cstate="print"/>
            <a:stretch>
              <a:fillRect/>
            </a:stretch>
          </p:blipFill>
          <p:spPr>
            <a:xfrm>
              <a:off x="6935188" y="3274240"/>
              <a:ext cx="71609" cy="71578"/>
            </a:xfrm>
            <a:prstGeom prst="rect">
              <a:avLst/>
            </a:prstGeom>
          </p:spPr>
        </p:pic>
        <p:pic>
          <p:nvPicPr>
            <p:cNvPr id="44" name="object 44"/>
            <p:cNvPicPr/>
            <p:nvPr/>
          </p:nvPicPr>
          <p:blipFill>
            <a:blip r:embed="rId27" cstate="print"/>
            <a:stretch>
              <a:fillRect/>
            </a:stretch>
          </p:blipFill>
          <p:spPr>
            <a:xfrm>
              <a:off x="7867997" y="2999395"/>
              <a:ext cx="200285" cy="200285"/>
            </a:xfrm>
            <a:prstGeom prst="rect">
              <a:avLst/>
            </a:prstGeom>
          </p:spPr>
        </p:pic>
        <p:sp>
          <p:nvSpPr>
            <p:cNvPr id="49" name="object 49"/>
            <p:cNvSpPr/>
            <p:nvPr/>
          </p:nvSpPr>
          <p:spPr>
            <a:xfrm>
              <a:off x="1162949" y="2886058"/>
              <a:ext cx="379730" cy="388620"/>
            </a:xfrm>
            <a:custGeom>
              <a:avLst/>
              <a:gdLst/>
              <a:ahLst/>
              <a:cxnLst/>
              <a:rect l="l" t="t" r="r" b="b"/>
              <a:pathLst>
                <a:path w="379730" h="388620">
                  <a:moveTo>
                    <a:pt x="189847" y="388055"/>
                  </a:moveTo>
                  <a:lnTo>
                    <a:pt x="119281" y="374259"/>
                  </a:lnTo>
                  <a:lnTo>
                    <a:pt x="81762" y="353754"/>
                  </a:lnTo>
                  <a:lnTo>
                    <a:pt x="50110" y="325726"/>
                  </a:lnTo>
                  <a:lnTo>
                    <a:pt x="25289" y="291509"/>
                  </a:lnTo>
                  <a:lnTo>
                    <a:pt x="8264" y="252433"/>
                  </a:lnTo>
                  <a:lnTo>
                    <a:pt x="0" y="209832"/>
                  </a:lnTo>
                  <a:lnTo>
                    <a:pt x="1460" y="165038"/>
                  </a:lnTo>
                  <a:lnTo>
                    <a:pt x="13854" y="119545"/>
                  </a:lnTo>
                  <a:lnTo>
                    <a:pt x="35900" y="79667"/>
                  </a:lnTo>
                  <a:lnTo>
                    <a:pt x="66030" y="46589"/>
                  </a:lnTo>
                  <a:lnTo>
                    <a:pt x="102677" y="21496"/>
                  </a:lnTo>
                  <a:lnTo>
                    <a:pt x="144272" y="5571"/>
                  </a:lnTo>
                  <a:lnTo>
                    <a:pt x="189248" y="0"/>
                  </a:lnTo>
                  <a:lnTo>
                    <a:pt x="196243" y="132"/>
                  </a:lnTo>
                  <a:lnTo>
                    <a:pt x="259833" y="13782"/>
                  </a:lnTo>
                  <a:lnTo>
                    <a:pt x="297351" y="34202"/>
                  </a:lnTo>
                  <a:lnTo>
                    <a:pt x="329004" y="62114"/>
                  </a:lnTo>
                  <a:lnTo>
                    <a:pt x="353824" y="96206"/>
                  </a:lnTo>
                  <a:lnTo>
                    <a:pt x="370849" y="135166"/>
                  </a:lnTo>
                  <a:lnTo>
                    <a:pt x="379114" y="177682"/>
                  </a:lnTo>
                  <a:lnTo>
                    <a:pt x="377653" y="222443"/>
                  </a:lnTo>
                  <a:lnTo>
                    <a:pt x="365259" y="268165"/>
                  </a:lnTo>
                  <a:lnTo>
                    <a:pt x="343212" y="308201"/>
                  </a:lnTo>
                  <a:lnTo>
                    <a:pt x="313081" y="341380"/>
                  </a:lnTo>
                  <a:lnTo>
                    <a:pt x="276431" y="366530"/>
                  </a:lnTo>
                  <a:lnTo>
                    <a:pt x="234831" y="382479"/>
                  </a:lnTo>
                  <a:lnTo>
                    <a:pt x="189847" y="388055"/>
                  </a:lnTo>
                  <a:close/>
                </a:path>
              </a:pathLst>
            </a:custGeom>
            <a:solidFill>
              <a:srgbClr val="DD915E"/>
            </a:solidFill>
          </p:spPr>
          <p:txBody>
            <a:bodyPr wrap="square" lIns="0" tIns="0" rIns="0" bIns="0" rtlCol="0"/>
            <a:lstStyle/>
            <a:p>
              <a:endParaRPr/>
            </a:p>
          </p:txBody>
        </p:sp>
        <p:sp>
          <p:nvSpPr>
            <p:cNvPr id="50" name="object 50"/>
            <p:cNvSpPr/>
            <p:nvPr/>
          </p:nvSpPr>
          <p:spPr>
            <a:xfrm>
              <a:off x="1131678" y="2862653"/>
              <a:ext cx="379095" cy="387985"/>
            </a:xfrm>
            <a:custGeom>
              <a:avLst/>
              <a:gdLst/>
              <a:ahLst/>
              <a:cxnLst/>
              <a:rect l="l" t="t" r="r" b="b"/>
              <a:pathLst>
                <a:path w="379094" h="387985">
                  <a:moveTo>
                    <a:pt x="189057" y="387907"/>
                  </a:moveTo>
                  <a:lnTo>
                    <a:pt x="183127" y="387907"/>
                  </a:lnTo>
                  <a:lnTo>
                    <a:pt x="177160" y="387611"/>
                  </a:lnTo>
                  <a:lnTo>
                    <a:pt x="128221" y="377565"/>
                  </a:lnTo>
                  <a:lnTo>
                    <a:pt x="89704" y="359034"/>
                  </a:lnTo>
                  <a:lnTo>
                    <a:pt x="56653" y="332713"/>
                  </a:lnTo>
                  <a:lnTo>
                    <a:pt x="30112" y="299875"/>
                  </a:lnTo>
                  <a:lnTo>
                    <a:pt x="11126" y="261788"/>
                  </a:lnTo>
                  <a:lnTo>
                    <a:pt x="740" y="219724"/>
                  </a:lnTo>
                  <a:lnTo>
                    <a:pt x="0" y="174954"/>
                  </a:lnTo>
                  <a:lnTo>
                    <a:pt x="10433" y="127223"/>
                  </a:lnTo>
                  <a:lnTo>
                    <a:pt x="31455" y="85088"/>
                  </a:lnTo>
                  <a:lnTo>
                    <a:pt x="61414" y="49924"/>
                  </a:lnTo>
                  <a:lnTo>
                    <a:pt x="98657" y="23105"/>
                  </a:lnTo>
                  <a:lnTo>
                    <a:pt x="141531" y="6005"/>
                  </a:lnTo>
                  <a:lnTo>
                    <a:pt x="188386" y="0"/>
                  </a:lnTo>
                  <a:lnTo>
                    <a:pt x="194661" y="0"/>
                  </a:lnTo>
                  <a:lnTo>
                    <a:pt x="250243" y="10215"/>
                  </a:lnTo>
                  <a:lnTo>
                    <a:pt x="288688" y="28589"/>
                  </a:lnTo>
                  <a:lnTo>
                    <a:pt x="321657" y="54804"/>
                  </a:lnTo>
                  <a:lnTo>
                    <a:pt x="348136" y="87579"/>
                  </a:lnTo>
                  <a:lnTo>
                    <a:pt x="367108" y="125633"/>
                  </a:lnTo>
                  <a:lnTo>
                    <a:pt x="377560" y="167685"/>
                  </a:lnTo>
                  <a:lnTo>
                    <a:pt x="378477" y="212453"/>
                  </a:lnTo>
                  <a:lnTo>
                    <a:pt x="367767" y="260337"/>
                  </a:lnTo>
                  <a:lnTo>
                    <a:pt x="346487" y="302596"/>
                  </a:lnTo>
                  <a:lnTo>
                    <a:pt x="316308" y="337858"/>
                  </a:lnTo>
                  <a:lnTo>
                    <a:pt x="278897" y="364747"/>
                  </a:lnTo>
                  <a:lnTo>
                    <a:pt x="235924" y="381888"/>
                  </a:lnTo>
                  <a:lnTo>
                    <a:pt x="189057" y="387907"/>
                  </a:lnTo>
                  <a:close/>
                </a:path>
              </a:pathLst>
            </a:custGeom>
            <a:solidFill>
              <a:srgbClr val="FFFFFF"/>
            </a:solidFill>
          </p:spPr>
          <p:txBody>
            <a:bodyPr wrap="square" lIns="0" tIns="0" rIns="0" bIns="0" rtlCol="0"/>
            <a:lstStyle/>
            <a:p>
              <a:endParaRPr/>
            </a:p>
          </p:txBody>
        </p:sp>
        <p:sp>
          <p:nvSpPr>
            <p:cNvPr id="51" name="object 51"/>
            <p:cNvSpPr/>
            <p:nvPr/>
          </p:nvSpPr>
          <p:spPr>
            <a:xfrm>
              <a:off x="1160401" y="2892903"/>
              <a:ext cx="320675" cy="327025"/>
            </a:xfrm>
            <a:custGeom>
              <a:avLst/>
              <a:gdLst/>
              <a:ahLst/>
              <a:cxnLst/>
              <a:rect l="l" t="t" r="r" b="b"/>
              <a:pathLst>
                <a:path w="320675" h="327025">
                  <a:moveTo>
                    <a:pt x="160222" y="326913"/>
                  </a:moveTo>
                  <a:lnTo>
                    <a:pt x="117644" y="321071"/>
                  </a:lnTo>
                  <a:lnTo>
                    <a:pt x="79374" y="304588"/>
                  </a:lnTo>
                  <a:lnTo>
                    <a:pt x="46944" y="279023"/>
                  </a:lnTo>
                  <a:lnTo>
                    <a:pt x="21884" y="245941"/>
                  </a:lnTo>
                  <a:lnTo>
                    <a:pt x="5726" y="206901"/>
                  </a:lnTo>
                  <a:lnTo>
                    <a:pt x="0" y="163465"/>
                  </a:lnTo>
                  <a:lnTo>
                    <a:pt x="5726" y="120029"/>
                  </a:lnTo>
                  <a:lnTo>
                    <a:pt x="21884" y="80986"/>
                  </a:lnTo>
                  <a:lnTo>
                    <a:pt x="46944" y="47898"/>
                  </a:lnTo>
                  <a:lnTo>
                    <a:pt x="79374" y="22330"/>
                  </a:lnTo>
                  <a:lnTo>
                    <a:pt x="117644" y="5843"/>
                  </a:lnTo>
                  <a:lnTo>
                    <a:pt x="160222" y="0"/>
                  </a:lnTo>
                  <a:lnTo>
                    <a:pt x="202802" y="5843"/>
                  </a:lnTo>
                  <a:lnTo>
                    <a:pt x="241075" y="22330"/>
                  </a:lnTo>
                  <a:lnTo>
                    <a:pt x="273509" y="47898"/>
                  </a:lnTo>
                  <a:lnTo>
                    <a:pt x="298573" y="80986"/>
                  </a:lnTo>
                  <a:lnTo>
                    <a:pt x="314735" y="120029"/>
                  </a:lnTo>
                  <a:lnTo>
                    <a:pt x="320463" y="163465"/>
                  </a:lnTo>
                  <a:lnTo>
                    <a:pt x="314735" y="206901"/>
                  </a:lnTo>
                  <a:lnTo>
                    <a:pt x="298573" y="245941"/>
                  </a:lnTo>
                  <a:lnTo>
                    <a:pt x="273509" y="279023"/>
                  </a:lnTo>
                  <a:lnTo>
                    <a:pt x="241075" y="304588"/>
                  </a:lnTo>
                  <a:lnTo>
                    <a:pt x="202802" y="321071"/>
                  </a:lnTo>
                  <a:lnTo>
                    <a:pt x="160222" y="326913"/>
                  </a:lnTo>
                  <a:close/>
                </a:path>
              </a:pathLst>
            </a:custGeom>
            <a:solidFill>
              <a:srgbClr val="F1A365"/>
            </a:solidFill>
          </p:spPr>
          <p:txBody>
            <a:bodyPr wrap="square" lIns="0" tIns="0" rIns="0" bIns="0" rtlCol="0"/>
            <a:lstStyle/>
            <a:p>
              <a:endParaRPr/>
            </a:p>
          </p:txBody>
        </p:sp>
      </p:grpSp>
      <p:pic>
        <p:nvPicPr>
          <p:cNvPr id="52" name="object 52"/>
          <p:cNvPicPr/>
          <p:nvPr/>
        </p:nvPicPr>
        <p:blipFill>
          <a:blip r:embed="rId18" cstate="print"/>
          <a:stretch>
            <a:fillRect/>
          </a:stretch>
        </p:blipFill>
        <p:spPr>
          <a:xfrm>
            <a:off x="6880533" y="3308948"/>
            <a:ext cx="71609" cy="70601"/>
          </a:xfrm>
          <a:prstGeom prst="rect">
            <a:avLst/>
          </a:prstGeom>
        </p:spPr>
      </p:pic>
      <p:pic>
        <p:nvPicPr>
          <p:cNvPr id="53" name="object 53"/>
          <p:cNvPicPr/>
          <p:nvPr/>
        </p:nvPicPr>
        <p:blipFill>
          <a:blip r:embed="rId18" cstate="print"/>
          <a:stretch>
            <a:fillRect/>
          </a:stretch>
        </p:blipFill>
        <p:spPr>
          <a:xfrm>
            <a:off x="6880533" y="3461348"/>
            <a:ext cx="71609" cy="70601"/>
          </a:xfrm>
          <a:prstGeom prst="rect">
            <a:avLst/>
          </a:prstGeom>
        </p:spPr>
      </p:pic>
      <p:grpSp>
        <p:nvGrpSpPr>
          <p:cNvPr id="54" name="object 54"/>
          <p:cNvGrpSpPr/>
          <p:nvPr/>
        </p:nvGrpSpPr>
        <p:grpSpPr>
          <a:xfrm>
            <a:off x="6224446" y="3692539"/>
            <a:ext cx="1386205" cy="354330"/>
            <a:chOff x="6279102" y="3816507"/>
            <a:chExt cx="1386205" cy="354330"/>
          </a:xfrm>
        </p:grpSpPr>
        <p:pic>
          <p:nvPicPr>
            <p:cNvPr id="55" name="object 55"/>
            <p:cNvPicPr/>
            <p:nvPr/>
          </p:nvPicPr>
          <p:blipFill>
            <a:blip r:embed="rId28" cstate="print"/>
            <a:stretch>
              <a:fillRect/>
            </a:stretch>
          </p:blipFill>
          <p:spPr>
            <a:xfrm>
              <a:off x="6371320" y="3816507"/>
              <a:ext cx="1216832" cy="180379"/>
            </a:xfrm>
            <a:prstGeom prst="rect">
              <a:avLst/>
            </a:prstGeom>
          </p:spPr>
        </p:pic>
        <p:sp>
          <p:nvSpPr>
            <p:cNvPr id="56" name="object 56"/>
            <p:cNvSpPr/>
            <p:nvPr/>
          </p:nvSpPr>
          <p:spPr>
            <a:xfrm>
              <a:off x="6279102" y="4026057"/>
              <a:ext cx="1386205" cy="144780"/>
            </a:xfrm>
            <a:custGeom>
              <a:avLst/>
              <a:gdLst/>
              <a:ahLst/>
              <a:cxnLst/>
              <a:rect l="l" t="t" r="r" b="b"/>
              <a:pathLst>
                <a:path w="1386204" h="144779">
                  <a:moveTo>
                    <a:pt x="48666" y="141684"/>
                  </a:moveTo>
                  <a:lnTo>
                    <a:pt x="20835" y="141684"/>
                  </a:lnTo>
                  <a:lnTo>
                    <a:pt x="0" y="47625"/>
                  </a:lnTo>
                  <a:lnTo>
                    <a:pt x="22770" y="47625"/>
                  </a:lnTo>
                  <a:lnTo>
                    <a:pt x="36016" y="125015"/>
                  </a:lnTo>
                  <a:lnTo>
                    <a:pt x="51960" y="125015"/>
                  </a:lnTo>
                  <a:lnTo>
                    <a:pt x="48666" y="141684"/>
                  </a:lnTo>
                  <a:close/>
                </a:path>
                <a:path w="1386204" h="144779">
                  <a:moveTo>
                    <a:pt x="51960" y="125015"/>
                  </a:moveTo>
                  <a:lnTo>
                    <a:pt x="36016" y="125015"/>
                  </a:lnTo>
                  <a:lnTo>
                    <a:pt x="52238" y="47625"/>
                  </a:lnTo>
                  <a:lnTo>
                    <a:pt x="75604" y="47625"/>
                  </a:lnTo>
                  <a:lnTo>
                    <a:pt x="79497" y="67865"/>
                  </a:lnTo>
                  <a:lnTo>
                    <a:pt x="63251" y="67865"/>
                  </a:lnTo>
                  <a:lnTo>
                    <a:pt x="51960" y="125015"/>
                  </a:lnTo>
                  <a:close/>
                </a:path>
                <a:path w="1386204" h="144779">
                  <a:moveTo>
                    <a:pt x="109578" y="125015"/>
                  </a:moveTo>
                  <a:lnTo>
                    <a:pt x="90487" y="125015"/>
                  </a:lnTo>
                  <a:lnTo>
                    <a:pt x="104477" y="47625"/>
                  </a:lnTo>
                  <a:lnTo>
                    <a:pt x="126355" y="47625"/>
                  </a:lnTo>
                  <a:lnTo>
                    <a:pt x="109578" y="125015"/>
                  </a:lnTo>
                  <a:close/>
                </a:path>
                <a:path w="1386204" h="144779">
                  <a:moveTo>
                    <a:pt x="105965" y="141684"/>
                  </a:moveTo>
                  <a:lnTo>
                    <a:pt x="77539" y="141684"/>
                  </a:lnTo>
                  <a:lnTo>
                    <a:pt x="63251" y="67865"/>
                  </a:lnTo>
                  <a:lnTo>
                    <a:pt x="79497" y="67865"/>
                  </a:lnTo>
                  <a:lnTo>
                    <a:pt x="90487" y="125015"/>
                  </a:lnTo>
                  <a:lnTo>
                    <a:pt x="109578" y="125015"/>
                  </a:lnTo>
                  <a:lnTo>
                    <a:pt x="105965" y="141684"/>
                  </a:lnTo>
                  <a:close/>
                </a:path>
                <a:path w="1386204" h="144779">
                  <a:moveTo>
                    <a:pt x="164811" y="141684"/>
                  </a:moveTo>
                  <a:lnTo>
                    <a:pt x="142041" y="141684"/>
                  </a:lnTo>
                  <a:lnTo>
                    <a:pt x="142041" y="47625"/>
                  </a:lnTo>
                  <a:lnTo>
                    <a:pt x="164811" y="47625"/>
                  </a:lnTo>
                  <a:lnTo>
                    <a:pt x="164811" y="141684"/>
                  </a:lnTo>
                  <a:close/>
                </a:path>
                <a:path w="1386204" h="144779">
                  <a:moveTo>
                    <a:pt x="157469" y="27533"/>
                  </a:moveTo>
                  <a:lnTo>
                    <a:pt x="149135" y="27533"/>
                  </a:lnTo>
                  <a:lnTo>
                    <a:pt x="145761" y="26243"/>
                  </a:lnTo>
                  <a:lnTo>
                    <a:pt x="140403" y="21084"/>
                  </a:lnTo>
                  <a:lnTo>
                    <a:pt x="139064" y="17859"/>
                  </a:lnTo>
                  <a:lnTo>
                    <a:pt x="139064" y="10021"/>
                  </a:lnTo>
                  <a:lnTo>
                    <a:pt x="140403" y="6697"/>
                  </a:lnTo>
                  <a:lnTo>
                    <a:pt x="145761" y="1339"/>
                  </a:lnTo>
                  <a:lnTo>
                    <a:pt x="149135" y="0"/>
                  </a:lnTo>
                  <a:lnTo>
                    <a:pt x="157469" y="0"/>
                  </a:lnTo>
                  <a:lnTo>
                    <a:pt x="160942" y="1339"/>
                  </a:lnTo>
                  <a:lnTo>
                    <a:pt x="166300" y="6697"/>
                  </a:lnTo>
                  <a:lnTo>
                    <a:pt x="167639" y="10021"/>
                  </a:lnTo>
                  <a:lnTo>
                    <a:pt x="167639" y="17859"/>
                  </a:lnTo>
                  <a:lnTo>
                    <a:pt x="166300" y="21084"/>
                  </a:lnTo>
                  <a:lnTo>
                    <a:pt x="160942" y="26243"/>
                  </a:lnTo>
                  <a:lnTo>
                    <a:pt x="157469" y="27533"/>
                  </a:lnTo>
                  <a:close/>
                </a:path>
                <a:path w="1386204" h="144779">
                  <a:moveTo>
                    <a:pt x="216858" y="47625"/>
                  </a:moveTo>
                  <a:lnTo>
                    <a:pt x="194087" y="47625"/>
                  </a:lnTo>
                  <a:lnTo>
                    <a:pt x="194087" y="26937"/>
                  </a:lnTo>
                  <a:lnTo>
                    <a:pt x="216858" y="24258"/>
                  </a:lnTo>
                  <a:lnTo>
                    <a:pt x="216858" y="47625"/>
                  </a:lnTo>
                  <a:close/>
                </a:path>
                <a:path w="1386204" h="144779">
                  <a:moveTo>
                    <a:pt x="236354" y="63996"/>
                  </a:moveTo>
                  <a:lnTo>
                    <a:pt x="179353" y="63996"/>
                  </a:lnTo>
                  <a:lnTo>
                    <a:pt x="179353" y="47625"/>
                  </a:lnTo>
                  <a:lnTo>
                    <a:pt x="238735" y="47625"/>
                  </a:lnTo>
                  <a:lnTo>
                    <a:pt x="236354" y="63996"/>
                  </a:lnTo>
                  <a:close/>
                </a:path>
                <a:path w="1386204" h="144779">
                  <a:moveTo>
                    <a:pt x="226631" y="144363"/>
                  </a:moveTo>
                  <a:lnTo>
                    <a:pt x="222364" y="144363"/>
                  </a:lnTo>
                  <a:lnTo>
                    <a:pt x="213137" y="144264"/>
                  </a:lnTo>
                  <a:lnTo>
                    <a:pt x="206092" y="141634"/>
                  </a:lnTo>
                  <a:lnTo>
                    <a:pt x="201231" y="136475"/>
                  </a:lnTo>
                  <a:lnTo>
                    <a:pt x="196468" y="131316"/>
                  </a:lnTo>
                  <a:lnTo>
                    <a:pt x="194087" y="123676"/>
                  </a:lnTo>
                  <a:lnTo>
                    <a:pt x="194087" y="63996"/>
                  </a:lnTo>
                  <a:lnTo>
                    <a:pt x="216858" y="63996"/>
                  </a:lnTo>
                  <a:lnTo>
                    <a:pt x="216858" y="117673"/>
                  </a:lnTo>
                  <a:lnTo>
                    <a:pt x="217651" y="120997"/>
                  </a:lnTo>
                  <a:lnTo>
                    <a:pt x="219239" y="123080"/>
                  </a:lnTo>
                  <a:lnTo>
                    <a:pt x="220826" y="125065"/>
                  </a:lnTo>
                  <a:lnTo>
                    <a:pt x="223356" y="126057"/>
                  </a:lnTo>
                  <a:lnTo>
                    <a:pt x="239877" y="126057"/>
                  </a:lnTo>
                  <a:lnTo>
                    <a:pt x="246028" y="137219"/>
                  </a:lnTo>
                  <a:lnTo>
                    <a:pt x="242655" y="139600"/>
                  </a:lnTo>
                  <a:lnTo>
                    <a:pt x="238934" y="141386"/>
                  </a:lnTo>
                  <a:lnTo>
                    <a:pt x="230798" y="143767"/>
                  </a:lnTo>
                  <a:lnTo>
                    <a:pt x="226631" y="144363"/>
                  </a:lnTo>
                  <a:close/>
                </a:path>
                <a:path w="1386204" h="144779">
                  <a:moveTo>
                    <a:pt x="239877" y="126057"/>
                  </a:moveTo>
                  <a:lnTo>
                    <a:pt x="230203" y="126057"/>
                  </a:lnTo>
                  <a:lnTo>
                    <a:pt x="233923" y="124916"/>
                  </a:lnTo>
                  <a:lnTo>
                    <a:pt x="237991" y="122634"/>
                  </a:lnTo>
                  <a:lnTo>
                    <a:pt x="239877" y="126057"/>
                  </a:lnTo>
                  <a:close/>
                </a:path>
                <a:path w="1386204" h="144779">
                  <a:moveTo>
                    <a:pt x="281561" y="141684"/>
                  </a:moveTo>
                  <a:lnTo>
                    <a:pt x="258790" y="141684"/>
                  </a:lnTo>
                  <a:lnTo>
                    <a:pt x="258790" y="10120"/>
                  </a:lnTo>
                  <a:lnTo>
                    <a:pt x="281561" y="7887"/>
                  </a:lnTo>
                  <a:lnTo>
                    <a:pt x="281561" y="58935"/>
                  </a:lnTo>
                  <a:lnTo>
                    <a:pt x="333609" y="58935"/>
                  </a:lnTo>
                  <a:lnTo>
                    <a:pt x="334673" y="62061"/>
                  </a:lnTo>
                  <a:lnTo>
                    <a:pt x="297436" y="62061"/>
                  </a:lnTo>
                  <a:lnTo>
                    <a:pt x="293963" y="63301"/>
                  </a:lnTo>
                  <a:lnTo>
                    <a:pt x="290788" y="65782"/>
                  </a:lnTo>
                  <a:lnTo>
                    <a:pt x="287613" y="68163"/>
                  </a:lnTo>
                  <a:lnTo>
                    <a:pt x="284537" y="71586"/>
                  </a:lnTo>
                  <a:lnTo>
                    <a:pt x="281561" y="76051"/>
                  </a:lnTo>
                  <a:lnTo>
                    <a:pt x="281561" y="141684"/>
                  </a:lnTo>
                  <a:close/>
                </a:path>
                <a:path w="1386204" h="144779">
                  <a:moveTo>
                    <a:pt x="333609" y="58935"/>
                  </a:moveTo>
                  <a:lnTo>
                    <a:pt x="281561" y="58935"/>
                  </a:lnTo>
                  <a:lnTo>
                    <a:pt x="287514" y="52815"/>
                  </a:lnTo>
                  <a:lnTo>
                    <a:pt x="294062" y="48443"/>
                  </a:lnTo>
                  <a:lnTo>
                    <a:pt x="301206" y="45820"/>
                  </a:lnTo>
                  <a:lnTo>
                    <a:pt x="308945" y="44946"/>
                  </a:lnTo>
                  <a:lnTo>
                    <a:pt x="317180" y="44946"/>
                  </a:lnTo>
                  <a:lnTo>
                    <a:pt x="323679" y="47525"/>
                  </a:lnTo>
                  <a:lnTo>
                    <a:pt x="328564" y="52815"/>
                  </a:lnTo>
                  <a:lnTo>
                    <a:pt x="333204" y="57745"/>
                  </a:lnTo>
                  <a:lnTo>
                    <a:pt x="333609" y="58935"/>
                  </a:lnTo>
                  <a:close/>
                </a:path>
                <a:path w="1386204" h="144779">
                  <a:moveTo>
                    <a:pt x="335585" y="141684"/>
                  </a:moveTo>
                  <a:lnTo>
                    <a:pt x="312815" y="141684"/>
                  </a:lnTo>
                  <a:lnTo>
                    <a:pt x="312815" y="71586"/>
                  </a:lnTo>
                  <a:lnTo>
                    <a:pt x="311822" y="67667"/>
                  </a:lnTo>
                  <a:lnTo>
                    <a:pt x="309838" y="65484"/>
                  </a:lnTo>
                  <a:lnTo>
                    <a:pt x="307953" y="63202"/>
                  </a:lnTo>
                  <a:lnTo>
                    <a:pt x="305076" y="62061"/>
                  </a:lnTo>
                  <a:lnTo>
                    <a:pt x="334673" y="62061"/>
                  </a:lnTo>
                  <a:lnTo>
                    <a:pt x="335585" y="64740"/>
                  </a:lnTo>
                  <a:lnTo>
                    <a:pt x="335585" y="141684"/>
                  </a:lnTo>
                  <a:close/>
                </a:path>
                <a:path w="1386204" h="144779">
                  <a:moveTo>
                    <a:pt x="483552" y="37504"/>
                  </a:moveTo>
                  <a:lnTo>
                    <a:pt x="394851" y="37504"/>
                  </a:lnTo>
                  <a:lnTo>
                    <a:pt x="394851" y="18901"/>
                  </a:lnTo>
                  <a:lnTo>
                    <a:pt x="486082" y="18901"/>
                  </a:lnTo>
                  <a:lnTo>
                    <a:pt x="483552" y="37504"/>
                  </a:lnTo>
                  <a:close/>
                </a:path>
                <a:path w="1386204" h="144779">
                  <a:moveTo>
                    <a:pt x="451554" y="141684"/>
                  </a:moveTo>
                  <a:lnTo>
                    <a:pt x="427891" y="141684"/>
                  </a:lnTo>
                  <a:lnTo>
                    <a:pt x="427891" y="37504"/>
                  </a:lnTo>
                  <a:lnTo>
                    <a:pt x="451554" y="37504"/>
                  </a:lnTo>
                  <a:lnTo>
                    <a:pt x="451554" y="141684"/>
                  </a:lnTo>
                  <a:close/>
                </a:path>
                <a:path w="1386204" h="144779">
                  <a:moveTo>
                    <a:pt x="538239" y="144363"/>
                  </a:moveTo>
                  <a:lnTo>
                    <a:pt x="529111" y="144363"/>
                  </a:lnTo>
                  <a:lnTo>
                    <a:pt x="519260" y="143535"/>
                  </a:lnTo>
                  <a:lnTo>
                    <a:pt x="487699" y="115379"/>
                  </a:lnTo>
                  <a:lnTo>
                    <a:pt x="484760" y="94654"/>
                  </a:lnTo>
                  <a:lnTo>
                    <a:pt x="485095" y="87445"/>
                  </a:lnTo>
                  <a:lnTo>
                    <a:pt x="512194" y="47029"/>
                  </a:lnTo>
                  <a:lnTo>
                    <a:pt x="520131" y="44946"/>
                  </a:lnTo>
                  <a:lnTo>
                    <a:pt x="529259" y="44946"/>
                  </a:lnTo>
                  <a:lnTo>
                    <a:pt x="564520" y="62210"/>
                  </a:lnTo>
                  <a:lnTo>
                    <a:pt x="529259" y="62210"/>
                  </a:lnTo>
                  <a:lnTo>
                    <a:pt x="520339" y="64237"/>
                  </a:lnTo>
                  <a:lnTo>
                    <a:pt x="513967" y="70321"/>
                  </a:lnTo>
                  <a:lnTo>
                    <a:pt x="510144" y="80460"/>
                  </a:lnTo>
                  <a:lnTo>
                    <a:pt x="508870" y="94654"/>
                  </a:lnTo>
                  <a:lnTo>
                    <a:pt x="508870" y="105767"/>
                  </a:lnTo>
                  <a:lnTo>
                    <a:pt x="510557" y="113952"/>
                  </a:lnTo>
                  <a:lnTo>
                    <a:pt x="517304" y="124469"/>
                  </a:lnTo>
                  <a:lnTo>
                    <a:pt x="522364" y="127099"/>
                  </a:lnTo>
                  <a:lnTo>
                    <a:pt x="564883" y="127099"/>
                  </a:lnTo>
                  <a:lnTo>
                    <a:pt x="564383" y="128141"/>
                  </a:lnTo>
                  <a:lnTo>
                    <a:pt x="559273" y="133945"/>
                  </a:lnTo>
                  <a:lnTo>
                    <a:pt x="546077" y="142279"/>
                  </a:lnTo>
                  <a:lnTo>
                    <a:pt x="538239" y="144363"/>
                  </a:lnTo>
                  <a:close/>
                </a:path>
                <a:path w="1386204" h="144779">
                  <a:moveTo>
                    <a:pt x="564883" y="127099"/>
                  </a:moveTo>
                  <a:lnTo>
                    <a:pt x="535857" y="127099"/>
                  </a:lnTo>
                  <a:lnTo>
                    <a:pt x="540918" y="124469"/>
                  </a:lnTo>
                  <a:lnTo>
                    <a:pt x="544291" y="119211"/>
                  </a:lnTo>
                  <a:lnTo>
                    <a:pt x="547664" y="113853"/>
                  </a:lnTo>
                  <a:lnTo>
                    <a:pt x="549331" y="105767"/>
                  </a:lnTo>
                  <a:lnTo>
                    <a:pt x="549351" y="83641"/>
                  </a:lnTo>
                  <a:lnTo>
                    <a:pt x="547664" y="75505"/>
                  </a:lnTo>
                  <a:lnTo>
                    <a:pt x="544291" y="70246"/>
                  </a:lnTo>
                  <a:lnTo>
                    <a:pt x="540918" y="64889"/>
                  </a:lnTo>
                  <a:lnTo>
                    <a:pt x="535907" y="62210"/>
                  </a:lnTo>
                  <a:lnTo>
                    <a:pt x="564520" y="62210"/>
                  </a:lnTo>
                  <a:lnTo>
                    <a:pt x="566783" y="65437"/>
                  </a:lnTo>
                  <a:lnTo>
                    <a:pt x="570410" y="73930"/>
                  </a:lnTo>
                  <a:lnTo>
                    <a:pt x="572587" y="83669"/>
                  </a:lnTo>
                  <a:lnTo>
                    <a:pt x="573313" y="94654"/>
                  </a:lnTo>
                  <a:lnTo>
                    <a:pt x="572978" y="101807"/>
                  </a:lnTo>
                  <a:lnTo>
                    <a:pt x="571973" y="108532"/>
                  </a:lnTo>
                  <a:lnTo>
                    <a:pt x="570299" y="114830"/>
                  </a:lnTo>
                  <a:lnTo>
                    <a:pt x="567955" y="120699"/>
                  </a:lnTo>
                  <a:lnTo>
                    <a:pt x="564883" y="127099"/>
                  </a:lnTo>
                  <a:close/>
                </a:path>
                <a:path w="1386204" h="144779">
                  <a:moveTo>
                    <a:pt x="665755" y="59977"/>
                  </a:moveTo>
                  <a:lnTo>
                    <a:pt x="616070" y="59977"/>
                  </a:lnTo>
                  <a:lnTo>
                    <a:pt x="621791" y="53401"/>
                  </a:lnTo>
                  <a:lnTo>
                    <a:pt x="628237" y="48704"/>
                  </a:lnTo>
                  <a:lnTo>
                    <a:pt x="635409" y="45885"/>
                  </a:lnTo>
                  <a:lnTo>
                    <a:pt x="643306" y="44946"/>
                  </a:lnTo>
                  <a:lnTo>
                    <a:pt x="648763" y="44946"/>
                  </a:lnTo>
                  <a:lnTo>
                    <a:pt x="653476" y="46384"/>
                  </a:lnTo>
                  <a:lnTo>
                    <a:pt x="657444" y="49262"/>
                  </a:lnTo>
                  <a:lnTo>
                    <a:pt x="661413" y="52040"/>
                  </a:lnTo>
                  <a:lnTo>
                    <a:pt x="664291" y="55909"/>
                  </a:lnTo>
                  <a:lnTo>
                    <a:pt x="665755" y="59977"/>
                  </a:lnTo>
                  <a:close/>
                </a:path>
                <a:path w="1386204" h="144779">
                  <a:moveTo>
                    <a:pt x="717913" y="60870"/>
                  </a:moveTo>
                  <a:lnTo>
                    <a:pt x="666076" y="60870"/>
                  </a:lnTo>
                  <a:lnTo>
                    <a:pt x="669847" y="55711"/>
                  </a:lnTo>
                  <a:lnTo>
                    <a:pt x="674014" y="51792"/>
                  </a:lnTo>
                  <a:lnTo>
                    <a:pt x="678578" y="49113"/>
                  </a:lnTo>
                  <a:lnTo>
                    <a:pt x="683142" y="46335"/>
                  </a:lnTo>
                  <a:lnTo>
                    <a:pt x="688401" y="44946"/>
                  </a:lnTo>
                  <a:lnTo>
                    <a:pt x="701894" y="44946"/>
                  </a:lnTo>
                  <a:lnTo>
                    <a:pt x="707897" y="47525"/>
                  </a:lnTo>
                  <a:lnTo>
                    <a:pt x="712362" y="52685"/>
                  </a:lnTo>
                  <a:lnTo>
                    <a:pt x="716926" y="57844"/>
                  </a:lnTo>
                  <a:lnTo>
                    <a:pt x="717913" y="60870"/>
                  </a:lnTo>
                  <a:close/>
                </a:path>
                <a:path w="1386204" h="144779">
                  <a:moveTo>
                    <a:pt x="617410" y="141684"/>
                  </a:moveTo>
                  <a:lnTo>
                    <a:pt x="594639" y="141684"/>
                  </a:lnTo>
                  <a:lnTo>
                    <a:pt x="594639" y="47625"/>
                  </a:lnTo>
                  <a:lnTo>
                    <a:pt x="614284" y="47625"/>
                  </a:lnTo>
                  <a:lnTo>
                    <a:pt x="616070" y="59977"/>
                  </a:lnTo>
                  <a:lnTo>
                    <a:pt x="665755" y="59977"/>
                  </a:lnTo>
                  <a:lnTo>
                    <a:pt x="666076" y="60870"/>
                  </a:lnTo>
                  <a:lnTo>
                    <a:pt x="717913" y="60870"/>
                  </a:lnTo>
                  <a:lnTo>
                    <a:pt x="718302" y="62061"/>
                  </a:lnTo>
                  <a:lnTo>
                    <a:pt x="631499" y="62061"/>
                  </a:lnTo>
                  <a:lnTo>
                    <a:pt x="628274" y="63251"/>
                  </a:lnTo>
                  <a:lnTo>
                    <a:pt x="625595" y="65633"/>
                  </a:lnTo>
                  <a:lnTo>
                    <a:pt x="622916" y="67915"/>
                  </a:lnTo>
                  <a:lnTo>
                    <a:pt x="620188" y="71487"/>
                  </a:lnTo>
                  <a:lnTo>
                    <a:pt x="617410" y="76348"/>
                  </a:lnTo>
                  <a:lnTo>
                    <a:pt x="617410" y="141684"/>
                  </a:lnTo>
                  <a:close/>
                </a:path>
                <a:path w="1386204" h="144779">
                  <a:moveTo>
                    <a:pt x="668309" y="141684"/>
                  </a:moveTo>
                  <a:lnTo>
                    <a:pt x="645687" y="141684"/>
                  </a:lnTo>
                  <a:lnTo>
                    <a:pt x="645687" y="67121"/>
                  </a:lnTo>
                  <a:lnTo>
                    <a:pt x="642214" y="62061"/>
                  </a:lnTo>
                  <a:lnTo>
                    <a:pt x="682497" y="62061"/>
                  </a:lnTo>
                  <a:lnTo>
                    <a:pt x="679322" y="63251"/>
                  </a:lnTo>
                  <a:lnTo>
                    <a:pt x="676643" y="65633"/>
                  </a:lnTo>
                  <a:lnTo>
                    <a:pt x="673964" y="67915"/>
                  </a:lnTo>
                  <a:lnTo>
                    <a:pt x="671186" y="71487"/>
                  </a:lnTo>
                  <a:lnTo>
                    <a:pt x="668309" y="76348"/>
                  </a:lnTo>
                  <a:lnTo>
                    <a:pt x="668309" y="141684"/>
                  </a:lnTo>
                  <a:close/>
                </a:path>
                <a:path w="1386204" h="144779">
                  <a:moveTo>
                    <a:pt x="719208" y="141684"/>
                  </a:moveTo>
                  <a:lnTo>
                    <a:pt x="696437" y="141684"/>
                  </a:lnTo>
                  <a:lnTo>
                    <a:pt x="696437" y="67121"/>
                  </a:lnTo>
                  <a:lnTo>
                    <a:pt x="693014" y="62061"/>
                  </a:lnTo>
                  <a:lnTo>
                    <a:pt x="718302" y="62061"/>
                  </a:lnTo>
                  <a:lnTo>
                    <a:pt x="719208" y="64839"/>
                  </a:lnTo>
                  <a:lnTo>
                    <a:pt x="719208" y="141684"/>
                  </a:lnTo>
                  <a:close/>
                </a:path>
                <a:path w="1386204" h="144779">
                  <a:moveTo>
                    <a:pt x="784380" y="144363"/>
                  </a:moveTo>
                  <a:lnTo>
                    <a:pt x="746113" y="124048"/>
                  </a:lnTo>
                  <a:lnTo>
                    <a:pt x="739679" y="96688"/>
                  </a:lnTo>
                  <a:lnTo>
                    <a:pt x="739707" y="92422"/>
                  </a:lnTo>
                  <a:lnTo>
                    <a:pt x="752680" y="55860"/>
                  </a:lnTo>
                  <a:lnTo>
                    <a:pt x="772771" y="44946"/>
                  </a:lnTo>
                  <a:lnTo>
                    <a:pt x="781403" y="44946"/>
                  </a:lnTo>
                  <a:lnTo>
                    <a:pt x="814386" y="61168"/>
                  </a:lnTo>
                  <a:lnTo>
                    <a:pt x="776343" y="61168"/>
                  </a:lnTo>
                  <a:lnTo>
                    <a:pt x="771928" y="63251"/>
                  </a:lnTo>
                  <a:lnTo>
                    <a:pt x="765677" y="71487"/>
                  </a:lnTo>
                  <a:lnTo>
                    <a:pt x="763842" y="77985"/>
                  </a:lnTo>
                  <a:lnTo>
                    <a:pt x="763246" y="86915"/>
                  </a:lnTo>
                  <a:lnTo>
                    <a:pt x="822423" y="86915"/>
                  </a:lnTo>
                  <a:lnTo>
                    <a:pt x="822778" y="92422"/>
                  </a:lnTo>
                  <a:lnTo>
                    <a:pt x="822698" y="95250"/>
                  </a:lnTo>
                  <a:lnTo>
                    <a:pt x="822629" y="96688"/>
                  </a:lnTo>
                  <a:lnTo>
                    <a:pt x="822331" y="101649"/>
                  </a:lnTo>
                  <a:lnTo>
                    <a:pt x="763246" y="101649"/>
                  </a:lnTo>
                  <a:lnTo>
                    <a:pt x="763941" y="110777"/>
                  </a:lnTo>
                  <a:lnTo>
                    <a:pt x="766322" y="117326"/>
                  </a:lnTo>
                  <a:lnTo>
                    <a:pt x="770390" y="121294"/>
                  </a:lnTo>
                  <a:lnTo>
                    <a:pt x="774458" y="125164"/>
                  </a:lnTo>
                  <a:lnTo>
                    <a:pt x="779766" y="127099"/>
                  </a:lnTo>
                  <a:lnTo>
                    <a:pt x="815865" y="127099"/>
                  </a:lnTo>
                  <a:lnTo>
                    <a:pt x="819206" y="131712"/>
                  </a:lnTo>
                  <a:lnTo>
                    <a:pt x="811169" y="137247"/>
                  </a:lnTo>
                  <a:lnTo>
                    <a:pt x="802686" y="141200"/>
                  </a:lnTo>
                  <a:lnTo>
                    <a:pt x="793756" y="143572"/>
                  </a:lnTo>
                  <a:lnTo>
                    <a:pt x="784380" y="144363"/>
                  </a:lnTo>
                  <a:close/>
                </a:path>
                <a:path w="1386204" h="144779">
                  <a:moveTo>
                    <a:pt x="822423" y="86915"/>
                  </a:moveTo>
                  <a:lnTo>
                    <a:pt x="800156" y="86915"/>
                  </a:lnTo>
                  <a:lnTo>
                    <a:pt x="800156" y="85873"/>
                  </a:lnTo>
                  <a:lnTo>
                    <a:pt x="799021" y="75065"/>
                  </a:lnTo>
                  <a:lnTo>
                    <a:pt x="795617" y="67344"/>
                  </a:lnTo>
                  <a:lnTo>
                    <a:pt x="789942" y="62712"/>
                  </a:lnTo>
                  <a:lnTo>
                    <a:pt x="781999" y="61168"/>
                  </a:lnTo>
                  <a:lnTo>
                    <a:pt x="814386" y="61168"/>
                  </a:lnTo>
                  <a:lnTo>
                    <a:pt x="816666" y="64461"/>
                  </a:lnTo>
                  <a:lnTo>
                    <a:pt x="820062" y="72553"/>
                  </a:lnTo>
                  <a:lnTo>
                    <a:pt x="822099" y="81874"/>
                  </a:lnTo>
                  <a:lnTo>
                    <a:pt x="822423" y="86915"/>
                  </a:lnTo>
                  <a:close/>
                </a:path>
                <a:path w="1386204" h="144779">
                  <a:moveTo>
                    <a:pt x="815865" y="127099"/>
                  </a:moveTo>
                  <a:lnTo>
                    <a:pt x="790482" y="127099"/>
                  </a:lnTo>
                  <a:lnTo>
                    <a:pt x="794401" y="126454"/>
                  </a:lnTo>
                  <a:lnTo>
                    <a:pt x="798072" y="125164"/>
                  </a:lnTo>
                  <a:lnTo>
                    <a:pt x="801743" y="123775"/>
                  </a:lnTo>
                  <a:lnTo>
                    <a:pt x="805662" y="121642"/>
                  </a:lnTo>
                  <a:lnTo>
                    <a:pt x="809830" y="118764"/>
                  </a:lnTo>
                  <a:lnTo>
                    <a:pt x="815865" y="127099"/>
                  </a:lnTo>
                  <a:close/>
                </a:path>
                <a:path w="1386204" h="144779">
                  <a:moveTo>
                    <a:pt x="866013" y="141684"/>
                  </a:moveTo>
                  <a:lnTo>
                    <a:pt x="843242" y="141684"/>
                  </a:lnTo>
                  <a:lnTo>
                    <a:pt x="843242" y="9971"/>
                  </a:lnTo>
                  <a:lnTo>
                    <a:pt x="866013" y="7590"/>
                  </a:lnTo>
                  <a:lnTo>
                    <a:pt x="866013" y="141684"/>
                  </a:lnTo>
                  <a:close/>
                </a:path>
                <a:path w="1386204" h="144779">
                  <a:moveTo>
                    <a:pt x="925396" y="141684"/>
                  </a:moveTo>
                  <a:lnTo>
                    <a:pt x="899202" y="141684"/>
                  </a:lnTo>
                  <a:lnTo>
                    <a:pt x="866906" y="90338"/>
                  </a:lnTo>
                  <a:lnTo>
                    <a:pt x="898309" y="47625"/>
                  </a:lnTo>
                  <a:lnTo>
                    <a:pt x="922270" y="47625"/>
                  </a:lnTo>
                  <a:lnTo>
                    <a:pt x="891016" y="89148"/>
                  </a:lnTo>
                  <a:lnTo>
                    <a:pt x="925396" y="141684"/>
                  </a:lnTo>
                  <a:close/>
                </a:path>
                <a:path w="1386204" h="144779">
                  <a:moveTo>
                    <a:pt x="1053253" y="141684"/>
                  </a:moveTo>
                  <a:lnTo>
                    <a:pt x="983304" y="141684"/>
                  </a:lnTo>
                  <a:lnTo>
                    <a:pt x="983304" y="18901"/>
                  </a:lnTo>
                  <a:lnTo>
                    <a:pt x="1006670" y="18901"/>
                  </a:lnTo>
                  <a:lnTo>
                    <a:pt x="1006670" y="122485"/>
                  </a:lnTo>
                  <a:lnTo>
                    <a:pt x="1055932" y="122485"/>
                  </a:lnTo>
                  <a:lnTo>
                    <a:pt x="1053253" y="141684"/>
                  </a:lnTo>
                  <a:close/>
                </a:path>
                <a:path w="1386204" h="144779">
                  <a:moveTo>
                    <a:pt x="1095247" y="141684"/>
                  </a:moveTo>
                  <a:lnTo>
                    <a:pt x="1072476" y="141684"/>
                  </a:lnTo>
                  <a:lnTo>
                    <a:pt x="1072476" y="47625"/>
                  </a:lnTo>
                  <a:lnTo>
                    <a:pt x="1095247" y="47625"/>
                  </a:lnTo>
                  <a:lnTo>
                    <a:pt x="1095247" y="141684"/>
                  </a:lnTo>
                  <a:close/>
                </a:path>
                <a:path w="1386204" h="144779">
                  <a:moveTo>
                    <a:pt x="1087905" y="27533"/>
                  </a:moveTo>
                  <a:lnTo>
                    <a:pt x="1079571" y="27533"/>
                  </a:lnTo>
                  <a:lnTo>
                    <a:pt x="1076197" y="26243"/>
                  </a:lnTo>
                  <a:lnTo>
                    <a:pt x="1070839" y="21084"/>
                  </a:lnTo>
                  <a:lnTo>
                    <a:pt x="1069500" y="17859"/>
                  </a:lnTo>
                  <a:lnTo>
                    <a:pt x="1069500" y="10021"/>
                  </a:lnTo>
                  <a:lnTo>
                    <a:pt x="1070839" y="6697"/>
                  </a:lnTo>
                  <a:lnTo>
                    <a:pt x="1076197" y="1339"/>
                  </a:lnTo>
                  <a:lnTo>
                    <a:pt x="1079571" y="0"/>
                  </a:lnTo>
                  <a:lnTo>
                    <a:pt x="1087905" y="0"/>
                  </a:lnTo>
                  <a:lnTo>
                    <a:pt x="1091378" y="1339"/>
                  </a:lnTo>
                  <a:lnTo>
                    <a:pt x="1096735" y="6697"/>
                  </a:lnTo>
                  <a:lnTo>
                    <a:pt x="1098075" y="10021"/>
                  </a:lnTo>
                  <a:lnTo>
                    <a:pt x="1098075" y="17859"/>
                  </a:lnTo>
                  <a:lnTo>
                    <a:pt x="1096735" y="21084"/>
                  </a:lnTo>
                  <a:lnTo>
                    <a:pt x="1091378" y="26243"/>
                  </a:lnTo>
                  <a:lnTo>
                    <a:pt x="1087905" y="27533"/>
                  </a:lnTo>
                  <a:close/>
                </a:path>
                <a:path w="1386204" h="144779">
                  <a:moveTo>
                    <a:pt x="1197807" y="59977"/>
                  </a:moveTo>
                  <a:lnTo>
                    <a:pt x="1144019" y="59977"/>
                  </a:lnTo>
                  <a:lnTo>
                    <a:pt x="1150168" y="53401"/>
                  </a:lnTo>
                  <a:lnTo>
                    <a:pt x="1157004" y="48704"/>
                  </a:lnTo>
                  <a:lnTo>
                    <a:pt x="1164530" y="45885"/>
                  </a:lnTo>
                  <a:lnTo>
                    <a:pt x="1172743" y="44946"/>
                  </a:lnTo>
                  <a:lnTo>
                    <a:pt x="1181077" y="44946"/>
                  </a:lnTo>
                  <a:lnTo>
                    <a:pt x="1187576" y="47476"/>
                  </a:lnTo>
                  <a:lnTo>
                    <a:pt x="1192239" y="52536"/>
                  </a:lnTo>
                  <a:lnTo>
                    <a:pt x="1197002" y="57596"/>
                  </a:lnTo>
                  <a:lnTo>
                    <a:pt x="1197807" y="59977"/>
                  </a:lnTo>
                  <a:close/>
                </a:path>
                <a:path w="1386204" h="144779">
                  <a:moveTo>
                    <a:pt x="1145359" y="141684"/>
                  </a:moveTo>
                  <a:lnTo>
                    <a:pt x="1122588" y="141684"/>
                  </a:lnTo>
                  <a:lnTo>
                    <a:pt x="1122588" y="47625"/>
                  </a:lnTo>
                  <a:lnTo>
                    <a:pt x="1142233" y="47625"/>
                  </a:lnTo>
                  <a:lnTo>
                    <a:pt x="1144019" y="59977"/>
                  </a:lnTo>
                  <a:lnTo>
                    <a:pt x="1197807" y="59977"/>
                  </a:lnTo>
                  <a:lnTo>
                    <a:pt x="1198511" y="62061"/>
                  </a:lnTo>
                  <a:lnTo>
                    <a:pt x="1161134" y="62061"/>
                  </a:lnTo>
                  <a:lnTo>
                    <a:pt x="1157612" y="63301"/>
                  </a:lnTo>
                  <a:lnTo>
                    <a:pt x="1151361" y="68163"/>
                  </a:lnTo>
                  <a:lnTo>
                    <a:pt x="1148335" y="71685"/>
                  </a:lnTo>
                  <a:lnTo>
                    <a:pt x="1145359" y="76348"/>
                  </a:lnTo>
                  <a:lnTo>
                    <a:pt x="1145359" y="141684"/>
                  </a:lnTo>
                  <a:close/>
                </a:path>
                <a:path w="1386204" h="144779">
                  <a:moveTo>
                    <a:pt x="1199383" y="141684"/>
                  </a:moveTo>
                  <a:lnTo>
                    <a:pt x="1176612" y="141684"/>
                  </a:lnTo>
                  <a:lnTo>
                    <a:pt x="1176612" y="71586"/>
                  </a:lnTo>
                  <a:lnTo>
                    <a:pt x="1175620" y="67667"/>
                  </a:lnTo>
                  <a:lnTo>
                    <a:pt x="1173636" y="65484"/>
                  </a:lnTo>
                  <a:lnTo>
                    <a:pt x="1171751" y="63202"/>
                  </a:lnTo>
                  <a:lnTo>
                    <a:pt x="1168873" y="62061"/>
                  </a:lnTo>
                  <a:lnTo>
                    <a:pt x="1198511" y="62061"/>
                  </a:lnTo>
                  <a:lnTo>
                    <a:pt x="1199383" y="64641"/>
                  </a:lnTo>
                  <a:lnTo>
                    <a:pt x="1199383" y="141684"/>
                  </a:lnTo>
                  <a:close/>
                </a:path>
                <a:path w="1386204" h="144779">
                  <a:moveTo>
                    <a:pt x="1248603" y="141684"/>
                  </a:moveTo>
                  <a:lnTo>
                    <a:pt x="1225832" y="141684"/>
                  </a:lnTo>
                  <a:lnTo>
                    <a:pt x="1225832" y="9971"/>
                  </a:lnTo>
                  <a:lnTo>
                    <a:pt x="1248603" y="7590"/>
                  </a:lnTo>
                  <a:lnTo>
                    <a:pt x="1248603" y="141684"/>
                  </a:lnTo>
                  <a:close/>
                </a:path>
                <a:path w="1386204" h="144779">
                  <a:moveTo>
                    <a:pt x="1307985" y="141684"/>
                  </a:moveTo>
                  <a:lnTo>
                    <a:pt x="1281792" y="141684"/>
                  </a:lnTo>
                  <a:lnTo>
                    <a:pt x="1249496" y="90338"/>
                  </a:lnTo>
                  <a:lnTo>
                    <a:pt x="1280899" y="47625"/>
                  </a:lnTo>
                  <a:lnTo>
                    <a:pt x="1304860" y="47625"/>
                  </a:lnTo>
                  <a:lnTo>
                    <a:pt x="1273606" y="89148"/>
                  </a:lnTo>
                  <a:lnTo>
                    <a:pt x="1307985" y="141684"/>
                  </a:lnTo>
                  <a:close/>
                </a:path>
                <a:path w="1386204" h="144779">
                  <a:moveTo>
                    <a:pt x="1384082" y="127396"/>
                  </a:moveTo>
                  <a:lnTo>
                    <a:pt x="1350891" y="127396"/>
                  </a:lnTo>
                  <a:lnTo>
                    <a:pt x="1354959" y="126404"/>
                  </a:lnTo>
                  <a:lnTo>
                    <a:pt x="1360912" y="122435"/>
                  </a:lnTo>
                  <a:lnTo>
                    <a:pt x="1362400" y="119657"/>
                  </a:lnTo>
                  <a:lnTo>
                    <a:pt x="1362400" y="113407"/>
                  </a:lnTo>
                  <a:lnTo>
                    <a:pt x="1361854" y="111273"/>
                  </a:lnTo>
                  <a:lnTo>
                    <a:pt x="1360763" y="109686"/>
                  </a:lnTo>
                  <a:lnTo>
                    <a:pt x="1359672" y="107999"/>
                  </a:lnTo>
                  <a:lnTo>
                    <a:pt x="1357638" y="106560"/>
                  </a:lnTo>
                  <a:lnTo>
                    <a:pt x="1354661" y="105370"/>
                  </a:lnTo>
                  <a:lnTo>
                    <a:pt x="1351784" y="104080"/>
                  </a:lnTo>
                  <a:lnTo>
                    <a:pt x="1347269" y="102542"/>
                  </a:lnTo>
                  <a:lnTo>
                    <a:pt x="1341118" y="100756"/>
                  </a:lnTo>
                  <a:lnTo>
                    <a:pt x="1331593" y="98176"/>
                  </a:lnTo>
                  <a:lnTo>
                    <a:pt x="1324548" y="94555"/>
                  </a:lnTo>
                  <a:lnTo>
                    <a:pt x="1319984" y="89892"/>
                  </a:lnTo>
                  <a:lnTo>
                    <a:pt x="1315519" y="85228"/>
                  </a:lnTo>
                  <a:lnTo>
                    <a:pt x="1313287" y="79375"/>
                  </a:lnTo>
                  <a:lnTo>
                    <a:pt x="1313287" y="67171"/>
                  </a:lnTo>
                  <a:lnTo>
                    <a:pt x="1342407" y="44946"/>
                  </a:lnTo>
                  <a:lnTo>
                    <a:pt x="1349452" y="44946"/>
                  </a:lnTo>
                  <a:lnTo>
                    <a:pt x="1358689" y="45653"/>
                  </a:lnTo>
                  <a:lnTo>
                    <a:pt x="1367349" y="47773"/>
                  </a:lnTo>
                  <a:lnTo>
                    <a:pt x="1375432" y="51308"/>
                  </a:lnTo>
                  <a:lnTo>
                    <a:pt x="1382938" y="56257"/>
                  </a:lnTo>
                  <a:lnTo>
                    <a:pt x="1379126" y="61912"/>
                  </a:lnTo>
                  <a:lnTo>
                    <a:pt x="1345880" y="61912"/>
                  </a:lnTo>
                  <a:lnTo>
                    <a:pt x="1342408" y="62805"/>
                  </a:lnTo>
                  <a:lnTo>
                    <a:pt x="1339927" y="64591"/>
                  </a:lnTo>
                  <a:lnTo>
                    <a:pt x="1337447" y="66278"/>
                  </a:lnTo>
                  <a:lnTo>
                    <a:pt x="1336206" y="68510"/>
                  </a:lnTo>
                  <a:lnTo>
                    <a:pt x="1336206" y="73471"/>
                  </a:lnTo>
                  <a:lnTo>
                    <a:pt x="1336702" y="75257"/>
                  </a:lnTo>
                  <a:lnTo>
                    <a:pt x="1366071" y="87510"/>
                  </a:lnTo>
                  <a:lnTo>
                    <a:pt x="1373612" y="91132"/>
                  </a:lnTo>
                  <a:lnTo>
                    <a:pt x="1378473" y="95696"/>
                  </a:lnTo>
                  <a:lnTo>
                    <a:pt x="1383434" y="100161"/>
                  </a:lnTo>
                  <a:lnTo>
                    <a:pt x="1385915" y="106412"/>
                  </a:lnTo>
                  <a:lnTo>
                    <a:pt x="1385915" y="123874"/>
                  </a:lnTo>
                  <a:lnTo>
                    <a:pt x="1384082" y="127396"/>
                  </a:lnTo>
                  <a:close/>
                </a:path>
                <a:path w="1386204" h="144779">
                  <a:moveTo>
                    <a:pt x="1374009" y="69502"/>
                  </a:moveTo>
                  <a:lnTo>
                    <a:pt x="1365972" y="64442"/>
                  </a:lnTo>
                  <a:lnTo>
                    <a:pt x="1358084" y="61912"/>
                  </a:lnTo>
                  <a:lnTo>
                    <a:pt x="1379126" y="61912"/>
                  </a:lnTo>
                  <a:lnTo>
                    <a:pt x="1374009" y="69502"/>
                  </a:lnTo>
                  <a:close/>
                </a:path>
                <a:path w="1386204" h="144779">
                  <a:moveTo>
                    <a:pt x="1346327" y="144363"/>
                  </a:moveTo>
                  <a:lnTo>
                    <a:pt x="1338588" y="144363"/>
                  </a:lnTo>
                  <a:lnTo>
                    <a:pt x="1331543" y="143172"/>
                  </a:lnTo>
                  <a:lnTo>
                    <a:pt x="1318843" y="138410"/>
                  </a:lnTo>
                  <a:lnTo>
                    <a:pt x="1313386" y="135135"/>
                  </a:lnTo>
                  <a:lnTo>
                    <a:pt x="1308822" y="130968"/>
                  </a:lnTo>
                  <a:lnTo>
                    <a:pt x="1320133" y="118169"/>
                  </a:lnTo>
                  <a:lnTo>
                    <a:pt x="1326365" y="122206"/>
                  </a:lnTo>
                  <a:lnTo>
                    <a:pt x="1332709" y="125090"/>
                  </a:lnTo>
                  <a:lnTo>
                    <a:pt x="1339164" y="126820"/>
                  </a:lnTo>
                  <a:lnTo>
                    <a:pt x="1345731" y="127396"/>
                  </a:lnTo>
                  <a:lnTo>
                    <a:pt x="1384082" y="127396"/>
                  </a:lnTo>
                  <a:lnTo>
                    <a:pt x="1382095" y="131216"/>
                  </a:lnTo>
                  <a:lnTo>
                    <a:pt x="1374455" y="136475"/>
                  </a:lnTo>
                  <a:lnTo>
                    <a:pt x="1368455" y="139926"/>
                  </a:lnTo>
                  <a:lnTo>
                    <a:pt x="1361767" y="142391"/>
                  </a:lnTo>
                  <a:lnTo>
                    <a:pt x="1354391" y="143870"/>
                  </a:lnTo>
                  <a:lnTo>
                    <a:pt x="1346327" y="144363"/>
                  </a:lnTo>
                  <a:close/>
                </a:path>
              </a:pathLst>
            </a:custGeom>
            <a:solidFill>
              <a:srgbClr val="000000"/>
            </a:solidFill>
          </p:spPr>
          <p:txBody>
            <a:bodyPr wrap="square" lIns="0" tIns="0" rIns="0" bIns="0" rtlCol="0"/>
            <a:lstStyle/>
            <a:p>
              <a:endParaRPr/>
            </a:p>
          </p:txBody>
        </p:sp>
      </p:grpSp>
      <p:sp>
        <p:nvSpPr>
          <p:cNvPr id="57" name="object 57"/>
          <p:cNvSpPr txBox="1"/>
          <p:nvPr/>
        </p:nvSpPr>
        <p:spPr>
          <a:xfrm>
            <a:off x="1196894" y="2769960"/>
            <a:ext cx="125730" cy="284480"/>
          </a:xfrm>
          <a:prstGeom prst="rect">
            <a:avLst/>
          </a:prstGeom>
        </p:spPr>
        <p:txBody>
          <a:bodyPr vert="horz" wrap="square" lIns="0" tIns="12700" rIns="0" bIns="0" rtlCol="0">
            <a:spAutoFit/>
          </a:bodyPr>
          <a:lstStyle/>
          <a:p>
            <a:pPr marL="12700">
              <a:lnSpc>
                <a:spcPct val="100000"/>
              </a:lnSpc>
              <a:spcBef>
                <a:spcPts val="100"/>
              </a:spcBef>
            </a:pPr>
            <a:r>
              <a:rPr sz="1700" b="1" spc="-210" dirty="0">
                <a:solidFill>
                  <a:srgbClr val="FFFFFF"/>
                </a:solidFill>
                <a:latin typeface="Trebuchet MS"/>
                <a:cs typeface="Trebuchet MS"/>
              </a:rPr>
              <a:t>1</a:t>
            </a:r>
            <a:endParaRPr sz="1700">
              <a:latin typeface="Trebuchet MS"/>
              <a:cs typeface="Trebuchet MS"/>
            </a:endParaRPr>
          </a:p>
        </p:txBody>
      </p:sp>
      <p:grpSp>
        <p:nvGrpSpPr>
          <p:cNvPr id="58" name="object 58"/>
          <p:cNvGrpSpPr/>
          <p:nvPr/>
        </p:nvGrpSpPr>
        <p:grpSpPr>
          <a:xfrm>
            <a:off x="2067622" y="2738685"/>
            <a:ext cx="410845" cy="411480"/>
            <a:chOff x="2122278" y="2862653"/>
            <a:chExt cx="410845" cy="411480"/>
          </a:xfrm>
        </p:grpSpPr>
        <p:pic>
          <p:nvPicPr>
            <p:cNvPr id="59" name="object 59"/>
            <p:cNvPicPr/>
            <p:nvPr/>
          </p:nvPicPr>
          <p:blipFill>
            <a:blip r:embed="rId29" cstate="print"/>
            <a:stretch>
              <a:fillRect/>
            </a:stretch>
          </p:blipFill>
          <p:spPr>
            <a:xfrm>
              <a:off x="2262025" y="3059330"/>
              <a:ext cx="262711" cy="196265"/>
            </a:xfrm>
            <a:prstGeom prst="rect">
              <a:avLst/>
            </a:prstGeom>
          </p:spPr>
        </p:pic>
        <p:sp>
          <p:nvSpPr>
            <p:cNvPr id="60" name="object 60"/>
            <p:cNvSpPr/>
            <p:nvPr/>
          </p:nvSpPr>
          <p:spPr>
            <a:xfrm>
              <a:off x="2153548" y="2886058"/>
              <a:ext cx="379730" cy="388620"/>
            </a:xfrm>
            <a:custGeom>
              <a:avLst/>
              <a:gdLst/>
              <a:ahLst/>
              <a:cxnLst/>
              <a:rect l="l" t="t" r="r" b="b"/>
              <a:pathLst>
                <a:path w="379730" h="388620">
                  <a:moveTo>
                    <a:pt x="189847" y="388055"/>
                  </a:moveTo>
                  <a:lnTo>
                    <a:pt x="119281" y="374259"/>
                  </a:lnTo>
                  <a:lnTo>
                    <a:pt x="81762" y="353754"/>
                  </a:lnTo>
                  <a:lnTo>
                    <a:pt x="50110" y="325726"/>
                  </a:lnTo>
                  <a:lnTo>
                    <a:pt x="25289" y="291509"/>
                  </a:lnTo>
                  <a:lnTo>
                    <a:pt x="8264" y="252433"/>
                  </a:lnTo>
                  <a:lnTo>
                    <a:pt x="0" y="209832"/>
                  </a:lnTo>
                  <a:lnTo>
                    <a:pt x="1460" y="165038"/>
                  </a:lnTo>
                  <a:lnTo>
                    <a:pt x="13854" y="119545"/>
                  </a:lnTo>
                  <a:lnTo>
                    <a:pt x="35900" y="79667"/>
                  </a:lnTo>
                  <a:lnTo>
                    <a:pt x="66030" y="46589"/>
                  </a:lnTo>
                  <a:lnTo>
                    <a:pt x="102677" y="21496"/>
                  </a:lnTo>
                  <a:lnTo>
                    <a:pt x="144272" y="5571"/>
                  </a:lnTo>
                  <a:lnTo>
                    <a:pt x="189248" y="0"/>
                  </a:lnTo>
                  <a:lnTo>
                    <a:pt x="196243" y="132"/>
                  </a:lnTo>
                  <a:lnTo>
                    <a:pt x="259833" y="13782"/>
                  </a:lnTo>
                  <a:lnTo>
                    <a:pt x="297351" y="34202"/>
                  </a:lnTo>
                  <a:lnTo>
                    <a:pt x="329003" y="62114"/>
                  </a:lnTo>
                  <a:lnTo>
                    <a:pt x="353824" y="96206"/>
                  </a:lnTo>
                  <a:lnTo>
                    <a:pt x="370849" y="135166"/>
                  </a:lnTo>
                  <a:lnTo>
                    <a:pt x="379114" y="177682"/>
                  </a:lnTo>
                  <a:lnTo>
                    <a:pt x="377653" y="222443"/>
                  </a:lnTo>
                  <a:lnTo>
                    <a:pt x="365259" y="268165"/>
                  </a:lnTo>
                  <a:lnTo>
                    <a:pt x="343212" y="308201"/>
                  </a:lnTo>
                  <a:lnTo>
                    <a:pt x="313081" y="341380"/>
                  </a:lnTo>
                  <a:lnTo>
                    <a:pt x="276431" y="366530"/>
                  </a:lnTo>
                  <a:lnTo>
                    <a:pt x="234831" y="382479"/>
                  </a:lnTo>
                  <a:lnTo>
                    <a:pt x="189847" y="388055"/>
                  </a:lnTo>
                  <a:close/>
                </a:path>
              </a:pathLst>
            </a:custGeom>
            <a:solidFill>
              <a:srgbClr val="0B5394"/>
            </a:solidFill>
          </p:spPr>
          <p:txBody>
            <a:bodyPr wrap="square" lIns="0" tIns="0" rIns="0" bIns="0" rtlCol="0"/>
            <a:lstStyle/>
            <a:p>
              <a:endParaRPr/>
            </a:p>
          </p:txBody>
        </p:sp>
        <p:sp>
          <p:nvSpPr>
            <p:cNvPr id="61" name="object 61"/>
            <p:cNvSpPr/>
            <p:nvPr/>
          </p:nvSpPr>
          <p:spPr>
            <a:xfrm>
              <a:off x="2122278" y="2862653"/>
              <a:ext cx="379095" cy="387985"/>
            </a:xfrm>
            <a:custGeom>
              <a:avLst/>
              <a:gdLst/>
              <a:ahLst/>
              <a:cxnLst/>
              <a:rect l="l" t="t" r="r" b="b"/>
              <a:pathLst>
                <a:path w="379094" h="387985">
                  <a:moveTo>
                    <a:pt x="189057" y="387907"/>
                  </a:moveTo>
                  <a:lnTo>
                    <a:pt x="183127" y="387907"/>
                  </a:lnTo>
                  <a:lnTo>
                    <a:pt x="177160" y="387611"/>
                  </a:lnTo>
                  <a:lnTo>
                    <a:pt x="128221" y="377565"/>
                  </a:lnTo>
                  <a:lnTo>
                    <a:pt x="89704" y="359034"/>
                  </a:lnTo>
                  <a:lnTo>
                    <a:pt x="56653" y="332713"/>
                  </a:lnTo>
                  <a:lnTo>
                    <a:pt x="30112" y="299875"/>
                  </a:lnTo>
                  <a:lnTo>
                    <a:pt x="11126" y="261788"/>
                  </a:lnTo>
                  <a:lnTo>
                    <a:pt x="740" y="219724"/>
                  </a:lnTo>
                  <a:lnTo>
                    <a:pt x="0" y="174954"/>
                  </a:lnTo>
                  <a:lnTo>
                    <a:pt x="10433" y="127223"/>
                  </a:lnTo>
                  <a:lnTo>
                    <a:pt x="31455" y="85088"/>
                  </a:lnTo>
                  <a:lnTo>
                    <a:pt x="61414" y="49924"/>
                  </a:lnTo>
                  <a:lnTo>
                    <a:pt x="98657" y="23105"/>
                  </a:lnTo>
                  <a:lnTo>
                    <a:pt x="141531" y="6005"/>
                  </a:lnTo>
                  <a:lnTo>
                    <a:pt x="188386" y="0"/>
                  </a:lnTo>
                  <a:lnTo>
                    <a:pt x="194661" y="0"/>
                  </a:lnTo>
                  <a:lnTo>
                    <a:pt x="250243" y="10215"/>
                  </a:lnTo>
                  <a:lnTo>
                    <a:pt x="288688" y="28589"/>
                  </a:lnTo>
                  <a:lnTo>
                    <a:pt x="321657" y="54804"/>
                  </a:lnTo>
                  <a:lnTo>
                    <a:pt x="348136" y="87579"/>
                  </a:lnTo>
                  <a:lnTo>
                    <a:pt x="367108" y="125633"/>
                  </a:lnTo>
                  <a:lnTo>
                    <a:pt x="377560" y="167685"/>
                  </a:lnTo>
                  <a:lnTo>
                    <a:pt x="378477" y="212453"/>
                  </a:lnTo>
                  <a:lnTo>
                    <a:pt x="367767" y="260337"/>
                  </a:lnTo>
                  <a:lnTo>
                    <a:pt x="346488" y="302596"/>
                  </a:lnTo>
                  <a:lnTo>
                    <a:pt x="316308" y="337858"/>
                  </a:lnTo>
                  <a:lnTo>
                    <a:pt x="278897" y="364747"/>
                  </a:lnTo>
                  <a:lnTo>
                    <a:pt x="235924" y="381888"/>
                  </a:lnTo>
                  <a:lnTo>
                    <a:pt x="189057" y="387907"/>
                  </a:lnTo>
                  <a:close/>
                </a:path>
              </a:pathLst>
            </a:custGeom>
            <a:solidFill>
              <a:srgbClr val="FFFFFF"/>
            </a:solidFill>
          </p:spPr>
          <p:txBody>
            <a:bodyPr wrap="square" lIns="0" tIns="0" rIns="0" bIns="0" rtlCol="0"/>
            <a:lstStyle/>
            <a:p>
              <a:endParaRPr/>
            </a:p>
          </p:txBody>
        </p:sp>
        <p:sp>
          <p:nvSpPr>
            <p:cNvPr id="62" name="object 62"/>
            <p:cNvSpPr/>
            <p:nvPr/>
          </p:nvSpPr>
          <p:spPr>
            <a:xfrm>
              <a:off x="2151001" y="2892903"/>
              <a:ext cx="320675" cy="327025"/>
            </a:xfrm>
            <a:custGeom>
              <a:avLst/>
              <a:gdLst/>
              <a:ahLst/>
              <a:cxnLst/>
              <a:rect l="l" t="t" r="r" b="b"/>
              <a:pathLst>
                <a:path w="320675" h="327025">
                  <a:moveTo>
                    <a:pt x="160222" y="326913"/>
                  </a:moveTo>
                  <a:lnTo>
                    <a:pt x="117644" y="321071"/>
                  </a:lnTo>
                  <a:lnTo>
                    <a:pt x="79374" y="304588"/>
                  </a:lnTo>
                  <a:lnTo>
                    <a:pt x="46944" y="279023"/>
                  </a:lnTo>
                  <a:lnTo>
                    <a:pt x="21884" y="245941"/>
                  </a:lnTo>
                  <a:lnTo>
                    <a:pt x="5726" y="206901"/>
                  </a:lnTo>
                  <a:lnTo>
                    <a:pt x="0" y="163465"/>
                  </a:lnTo>
                  <a:lnTo>
                    <a:pt x="5726" y="120029"/>
                  </a:lnTo>
                  <a:lnTo>
                    <a:pt x="21884" y="80986"/>
                  </a:lnTo>
                  <a:lnTo>
                    <a:pt x="46944" y="47898"/>
                  </a:lnTo>
                  <a:lnTo>
                    <a:pt x="79374" y="22330"/>
                  </a:lnTo>
                  <a:lnTo>
                    <a:pt x="117644" y="5843"/>
                  </a:lnTo>
                  <a:lnTo>
                    <a:pt x="160222" y="0"/>
                  </a:lnTo>
                  <a:lnTo>
                    <a:pt x="202802" y="5843"/>
                  </a:lnTo>
                  <a:lnTo>
                    <a:pt x="241075" y="22330"/>
                  </a:lnTo>
                  <a:lnTo>
                    <a:pt x="273509" y="47898"/>
                  </a:lnTo>
                  <a:lnTo>
                    <a:pt x="298573" y="80986"/>
                  </a:lnTo>
                  <a:lnTo>
                    <a:pt x="314735" y="120029"/>
                  </a:lnTo>
                  <a:lnTo>
                    <a:pt x="320463" y="163465"/>
                  </a:lnTo>
                  <a:lnTo>
                    <a:pt x="314735" y="206901"/>
                  </a:lnTo>
                  <a:lnTo>
                    <a:pt x="298573" y="245941"/>
                  </a:lnTo>
                  <a:lnTo>
                    <a:pt x="273509" y="279023"/>
                  </a:lnTo>
                  <a:lnTo>
                    <a:pt x="241075" y="304588"/>
                  </a:lnTo>
                  <a:lnTo>
                    <a:pt x="202802" y="321071"/>
                  </a:lnTo>
                  <a:lnTo>
                    <a:pt x="160222" y="326913"/>
                  </a:lnTo>
                  <a:close/>
                </a:path>
              </a:pathLst>
            </a:custGeom>
            <a:solidFill>
              <a:srgbClr val="0B5394"/>
            </a:solidFill>
          </p:spPr>
          <p:txBody>
            <a:bodyPr wrap="square" lIns="0" tIns="0" rIns="0" bIns="0" rtlCol="0"/>
            <a:lstStyle/>
            <a:p>
              <a:endParaRPr/>
            </a:p>
          </p:txBody>
        </p:sp>
      </p:grpSp>
      <p:sp>
        <p:nvSpPr>
          <p:cNvPr id="63" name="object 63"/>
          <p:cNvSpPr txBox="1"/>
          <p:nvPr/>
        </p:nvSpPr>
        <p:spPr>
          <a:xfrm>
            <a:off x="2187494" y="2769960"/>
            <a:ext cx="137160" cy="284480"/>
          </a:xfrm>
          <a:prstGeom prst="rect">
            <a:avLst/>
          </a:prstGeom>
        </p:spPr>
        <p:txBody>
          <a:bodyPr vert="horz" wrap="square" lIns="0" tIns="12700" rIns="0" bIns="0" rtlCol="0">
            <a:spAutoFit/>
          </a:bodyPr>
          <a:lstStyle/>
          <a:p>
            <a:pPr marL="12700">
              <a:lnSpc>
                <a:spcPct val="100000"/>
              </a:lnSpc>
              <a:spcBef>
                <a:spcPts val="100"/>
              </a:spcBef>
            </a:pPr>
            <a:r>
              <a:rPr sz="1700" b="1" spc="-120" dirty="0">
                <a:solidFill>
                  <a:srgbClr val="FFFFFF"/>
                </a:solidFill>
                <a:latin typeface="Trebuchet MS"/>
                <a:cs typeface="Trebuchet MS"/>
              </a:rPr>
              <a:t>2</a:t>
            </a:r>
            <a:endParaRPr sz="1700">
              <a:latin typeface="Trebuchet MS"/>
              <a:cs typeface="Trebuchet MS"/>
            </a:endParaRPr>
          </a:p>
        </p:txBody>
      </p:sp>
      <p:grpSp>
        <p:nvGrpSpPr>
          <p:cNvPr id="64" name="object 64"/>
          <p:cNvGrpSpPr/>
          <p:nvPr/>
        </p:nvGrpSpPr>
        <p:grpSpPr>
          <a:xfrm>
            <a:off x="3134422" y="2738685"/>
            <a:ext cx="410845" cy="411480"/>
            <a:chOff x="3189078" y="2862653"/>
            <a:chExt cx="410845" cy="411480"/>
          </a:xfrm>
        </p:grpSpPr>
        <p:pic>
          <p:nvPicPr>
            <p:cNvPr id="65" name="object 65"/>
            <p:cNvPicPr/>
            <p:nvPr/>
          </p:nvPicPr>
          <p:blipFill>
            <a:blip r:embed="rId29" cstate="print"/>
            <a:stretch>
              <a:fillRect/>
            </a:stretch>
          </p:blipFill>
          <p:spPr>
            <a:xfrm>
              <a:off x="3328825" y="3059330"/>
              <a:ext cx="262711" cy="196265"/>
            </a:xfrm>
            <a:prstGeom prst="rect">
              <a:avLst/>
            </a:prstGeom>
          </p:spPr>
        </p:pic>
        <p:sp>
          <p:nvSpPr>
            <p:cNvPr id="66" name="object 66"/>
            <p:cNvSpPr/>
            <p:nvPr/>
          </p:nvSpPr>
          <p:spPr>
            <a:xfrm>
              <a:off x="3220348" y="2886058"/>
              <a:ext cx="379730" cy="388620"/>
            </a:xfrm>
            <a:custGeom>
              <a:avLst/>
              <a:gdLst/>
              <a:ahLst/>
              <a:cxnLst/>
              <a:rect l="l" t="t" r="r" b="b"/>
              <a:pathLst>
                <a:path w="379729" h="388620">
                  <a:moveTo>
                    <a:pt x="189847" y="388055"/>
                  </a:moveTo>
                  <a:lnTo>
                    <a:pt x="119281" y="374259"/>
                  </a:lnTo>
                  <a:lnTo>
                    <a:pt x="81762" y="353754"/>
                  </a:lnTo>
                  <a:lnTo>
                    <a:pt x="50110" y="325726"/>
                  </a:lnTo>
                  <a:lnTo>
                    <a:pt x="25289" y="291509"/>
                  </a:lnTo>
                  <a:lnTo>
                    <a:pt x="8264" y="252433"/>
                  </a:lnTo>
                  <a:lnTo>
                    <a:pt x="0" y="209832"/>
                  </a:lnTo>
                  <a:lnTo>
                    <a:pt x="1460" y="165038"/>
                  </a:lnTo>
                  <a:lnTo>
                    <a:pt x="13854" y="119545"/>
                  </a:lnTo>
                  <a:lnTo>
                    <a:pt x="35900" y="79667"/>
                  </a:lnTo>
                  <a:lnTo>
                    <a:pt x="66030" y="46589"/>
                  </a:lnTo>
                  <a:lnTo>
                    <a:pt x="102677" y="21496"/>
                  </a:lnTo>
                  <a:lnTo>
                    <a:pt x="144272" y="5571"/>
                  </a:lnTo>
                  <a:lnTo>
                    <a:pt x="189248" y="0"/>
                  </a:lnTo>
                  <a:lnTo>
                    <a:pt x="196243" y="132"/>
                  </a:lnTo>
                  <a:lnTo>
                    <a:pt x="259833" y="13782"/>
                  </a:lnTo>
                  <a:lnTo>
                    <a:pt x="297351" y="34202"/>
                  </a:lnTo>
                  <a:lnTo>
                    <a:pt x="329003" y="62114"/>
                  </a:lnTo>
                  <a:lnTo>
                    <a:pt x="353824" y="96206"/>
                  </a:lnTo>
                  <a:lnTo>
                    <a:pt x="370849" y="135166"/>
                  </a:lnTo>
                  <a:lnTo>
                    <a:pt x="379114" y="177682"/>
                  </a:lnTo>
                  <a:lnTo>
                    <a:pt x="377653" y="222443"/>
                  </a:lnTo>
                  <a:lnTo>
                    <a:pt x="365259" y="268165"/>
                  </a:lnTo>
                  <a:lnTo>
                    <a:pt x="343213" y="308201"/>
                  </a:lnTo>
                  <a:lnTo>
                    <a:pt x="313081" y="341380"/>
                  </a:lnTo>
                  <a:lnTo>
                    <a:pt x="276431" y="366530"/>
                  </a:lnTo>
                  <a:lnTo>
                    <a:pt x="234831" y="382479"/>
                  </a:lnTo>
                  <a:lnTo>
                    <a:pt x="189847" y="388055"/>
                  </a:lnTo>
                  <a:close/>
                </a:path>
              </a:pathLst>
            </a:custGeom>
            <a:solidFill>
              <a:srgbClr val="666666"/>
            </a:solidFill>
          </p:spPr>
          <p:txBody>
            <a:bodyPr wrap="square" lIns="0" tIns="0" rIns="0" bIns="0" rtlCol="0"/>
            <a:lstStyle/>
            <a:p>
              <a:endParaRPr/>
            </a:p>
          </p:txBody>
        </p:sp>
        <p:sp>
          <p:nvSpPr>
            <p:cNvPr id="67" name="object 67"/>
            <p:cNvSpPr/>
            <p:nvPr/>
          </p:nvSpPr>
          <p:spPr>
            <a:xfrm>
              <a:off x="3189078" y="2862653"/>
              <a:ext cx="379095" cy="387985"/>
            </a:xfrm>
            <a:custGeom>
              <a:avLst/>
              <a:gdLst/>
              <a:ahLst/>
              <a:cxnLst/>
              <a:rect l="l" t="t" r="r" b="b"/>
              <a:pathLst>
                <a:path w="379095" h="387985">
                  <a:moveTo>
                    <a:pt x="189057" y="387907"/>
                  </a:moveTo>
                  <a:lnTo>
                    <a:pt x="183127" y="387907"/>
                  </a:lnTo>
                  <a:lnTo>
                    <a:pt x="177160" y="387611"/>
                  </a:lnTo>
                  <a:lnTo>
                    <a:pt x="128221" y="377565"/>
                  </a:lnTo>
                  <a:lnTo>
                    <a:pt x="89704" y="359034"/>
                  </a:lnTo>
                  <a:lnTo>
                    <a:pt x="56653" y="332713"/>
                  </a:lnTo>
                  <a:lnTo>
                    <a:pt x="30112" y="299875"/>
                  </a:lnTo>
                  <a:lnTo>
                    <a:pt x="11126" y="261788"/>
                  </a:lnTo>
                  <a:lnTo>
                    <a:pt x="740" y="219724"/>
                  </a:lnTo>
                  <a:lnTo>
                    <a:pt x="0" y="174954"/>
                  </a:lnTo>
                  <a:lnTo>
                    <a:pt x="10433" y="127223"/>
                  </a:lnTo>
                  <a:lnTo>
                    <a:pt x="31455" y="85088"/>
                  </a:lnTo>
                  <a:lnTo>
                    <a:pt x="61414" y="49924"/>
                  </a:lnTo>
                  <a:lnTo>
                    <a:pt x="98657" y="23105"/>
                  </a:lnTo>
                  <a:lnTo>
                    <a:pt x="141532" y="6005"/>
                  </a:lnTo>
                  <a:lnTo>
                    <a:pt x="188386" y="0"/>
                  </a:lnTo>
                  <a:lnTo>
                    <a:pt x="194661" y="0"/>
                  </a:lnTo>
                  <a:lnTo>
                    <a:pt x="250243" y="10215"/>
                  </a:lnTo>
                  <a:lnTo>
                    <a:pt x="288688" y="28589"/>
                  </a:lnTo>
                  <a:lnTo>
                    <a:pt x="321657" y="54804"/>
                  </a:lnTo>
                  <a:lnTo>
                    <a:pt x="348136" y="87579"/>
                  </a:lnTo>
                  <a:lnTo>
                    <a:pt x="367108" y="125633"/>
                  </a:lnTo>
                  <a:lnTo>
                    <a:pt x="377560" y="167685"/>
                  </a:lnTo>
                  <a:lnTo>
                    <a:pt x="378477" y="212453"/>
                  </a:lnTo>
                  <a:lnTo>
                    <a:pt x="367767" y="260337"/>
                  </a:lnTo>
                  <a:lnTo>
                    <a:pt x="346487" y="302596"/>
                  </a:lnTo>
                  <a:lnTo>
                    <a:pt x="316308" y="337858"/>
                  </a:lnTo>
                  <a:lnTo>
                    <a:pt x="278897" y="364747"/>
                  </a:lnTo>
                  <a:lnTo>
                    <a:pt x="235924" y="381888"/>
                  </a:lnTo>
                  <a:lnTo>
                    <a:pt x="189057" y="387907"/>
                  </a:lnTo>
                  <a:close/>
                </a:path>
              </a:pathLst>
            </a:custGeom>
            <a:solidFill>
              <a:srgbClr val="FFFFFF"/>
            </a:solidFill>
          </p:spPr>
          <p:txBody>
            <a:bodyPr wrap="square" lIns="0" tIns="0" rIns="0" bIns="0" rtlCol="0"/>
            <a:lstStyle/>
            <a:p>
              <a:endParaRPr/>
            </a:p>
          </p:txBody>
        </p:sp>
        <p:sp>
          <p:nvSpPr>
            <p:cNvPr id="68" name="object 68"/>
            <p:cNvSpPr/>
            <p:nvPr/>
          </p:nvSpPr>
          <p:spPr>
            <a:xfrm>
              <a:off x="3217801" y="2892903"/>
              <a:ext cx="320675" cy="327025"/>
            </a:xfrm>
            <a:custGeom>
              <a:avLst/>
              <a:gdLst/>
              <a:ahLst/>
              <a:cxnLst/>
              <a:rect l="l" t="t" r="r" b="b"/>
              <a:pathLst>
                <a:path w="320675" h="327025">
                  <a:moveTo>
                    <a:pt x="160222" y="326913"/>
                  </a:moveTo>
                  <a:lnTo>
                    <a:pt x="117644" y="321071"/>
                  </a:lnTo>
                  <a:lnTo>
                    <a:pt x="79374" y="304588"/>
                  </a:lnTo>
                  <a:lnTo>
                    <a:pt x="46944" y="279023"/>
                  </a:lnTo>
                  <a:lnTo>
                    <a:pt x="21884" y="245941"/>
                  </a:lnTo>
                  <a:lnTo>
                    <a:pt x="5726" y="206901"/>
                  </a:lnTo>
                  <a:lnTo>
                    <a:pt x="0" y="163465"/>
                  </a:lnTo>
                  <a:lnTo>
                    <a:pt x="5726" y="120029"/>
                  </a:lnTo>
                  <a:lnTo>
                    <a:pt x="21884" y="80986"/>
                  </a:lnTo>
                  <a:lnTo>
                    <a:pt x="46944" y="47898"/>
                  </a:lnTo>
                  <a:lnTo>
                    <a:pt x="79374" y="22330"/>
                  </a:lnTo>
                  <a:lnTo>
                    <a:pt x="117644" y="5843"/>
                  </a:lnTo>
                  <a:lnTo>
                    <a:pt x="160222" y="0"/>
                  </a:lnTo>
                  <a:lnTo>
                    <a:pt x="202802" y="5843"/>
                  </a:lnTo>
                  <a:lnTo>
                    <a:pt x="241075" y="22330"/>
                  </a:lnTo>
                  <a:lnTo>
                    <a:pt x="273509" y="47898"/>
                  </a:lnTo>
                  <a:lnTo>
                    <a:pt x="298573" y="80986"/>
                  </a:lnTo>
                  <a:lnTo>
                    <a:pt x="314735" y="120029"/>
                  </a:lnTo>
                  <a:lnTo>
                    <a:pt x="320463" y="163465"/>
                  </a:lnTo>
                  <a:lnTo>
                    <a:pt x="314735" y="206901"/>
                  </a:lnTo>
                  <a:lnTo>
                    <a:pt x="298573" y="245941"/>
                  </a:lnTo>
                  <a:lnTo>
                    <a:pt x="273509" y="279023"/>
                  </a:lnTo>
                  <a:lnTo>
                    <a:pt x="241075" y="304588"/>
                  </a:lnTo>
                  <a:lnTo>
                    <a:pt x="202802" y="321071"/>
                  </a:lnTo>
                  <a:lnTo>
                    <a:pt x="160222" y="326913"/>
                  </a:lnTo>
                  <a:close/>
                </a:path>
              </a:pathLst>
            </a:custGeom>
            <a:solidFill>
              <a:srgbClr val="999999"/>
            </a:solidFill>
          </p:spPr>
          <p:txBody>
            <a:bodyPr wrap="square" lIns="0" tIns="0" rIns="0" bIns="0" rtlCol="0"/>
            <a:lstStyle/>
            <a:p>
              <a:endParaRPr/>
            </a:p>
          </p:txBody>
        </p:sp>
      </p:grpSp>
      <p:sp>
        <p:nvSpPr>
          <p:cNvPr id="69" name="object 69"/>
          <p:cNvSpPr txBox="1"/>
          <p:nvPr/>
        </p:nvSpPr>
        <p:spPr>
          <a:xfrm>
            <a:off x="3254293" y="2769960"/>
            <a:ext cx="137795" cy="284480"/>
          </a:xfrm>
          <a:prstGeom prst="rect">
            <a:avLst/>
          </a:prstGeom>
        </p:spPr>
        <p:txBody>
          <a:bodyPr vert="horz" wrap="square" lIns="0" tIns="12700" rIns="0" bIns="0" rtlCol="0">
            <a:spAutoFit/>
          </a:bodyPr>
          <a:lstStyle/>
          <a:p>
            <a:pPr marL="12700">
              <a:lnSpc>
                <a:spcPct val="100000"/>
              </a:lnSpc>
              <a:spcBef>
                <a:spcPts val="100"/>
              </a:spcBef>
            </a:pPr>
            <a:r>
              <a:rPr sz="1700" b="1" spc="-114" dirty="0">
                <a:solidFill>
                  <a:srgbClr val="FFFFFF"/>
                </a:solidFill>
                <a:latin typeface="Trebuchet MS"/>
                <a:cs typeface="Trebuchet MS"/>
              </a:rPr>
              <a:t>3</a:t>
            </a:r>
            <a:endParaRPr sz="1700">
              <a:latin typeface="Trebuchet MS"/>
              <a:cs typeface="Trebuchet MS"/>
            </a:endParaRPr>
          </a:p>
        </p:txBody>
      </p:sp>
      <p:pic>
        <p:nvPicPr>
          <p:cNvPr id="70" name="Google Shape;108;p1">
            <a:extLst>
              <a:ext uri="{FF2B5EF4-FFF2-40B4-BE49-F238E27FC236}">
                <a16:creationId xmlns:a16="http://schemas.microsoft.com/office/drawing/2014/main" id="{F7F8D742-518D-4FA4-9A5B-4405BF7F262E}"/>
              </a:ext>
            </a:extLst>
          </p:cNvPr>
          <p:cNvPicPr preferRelativeResize="0"/>
          <p:nvPr/>
        </p:nvPicPr>
        <p:blipFill rotWithShape="1">
          <a:blip r:embed="rId30">
            <a:alphaModFix/>
          </a:blip>
          <a:srcRect/>
          <a:stretch/>
        </p:blipFill>
        <p:spPr>
          <a:xfrm>
            <a:off x="8712986" y="4782288"/>
            <a:ext cx="346788" cy="335193"/>
          </a:xfrm>
          <a:prstGeom prst="rect">
            <a:avLst/>
          </a:prstGeom>
          <a:noFill/>
          <a:ln>
            <a:noFill/>
          </a:ln>
        </p:spPr>
      </p:pic>
      <p:pic>
        <p:nvPicPr>
          <p:cNvPr id="72" name="Picture 71" descr="Chart&#10;&#10;Description automatically generated">
            <a:extLst>
              <a:ext uri="{FF2B5EF4-FFF2-40B4-BE49-F238E27FC236}">
                <a16:creationId xmlns:a16="http://schemas.microsoft.com/office/drawing/2014/main" id="{BF22B218-BFF4-438E-BE01-BA07560FE9C8}"/>
              </a:ext>
            </a:extLst>
          </p:cNvPr>
          <p:cNvPicPr>
            <a:picLocks noChangeAspect="1"/>
          </p:cNvPicPr>
          <p:nvPr/>
        </p:nvPicPr>
        <p:blipFill rotWithShape="1">
          <a:blip r:embed="rId31">
            <a:extLst>
              <a:ext uri="{28A0092B-C50C-407E-A947-70E740481C1C}">
                <a14:useLocalDpi xmlns:a14="http://schemas.microsoft.com/office/drawing/2010/main" val="0"/>
              </a:ext>
            </a:extLst>
          </a:blip>
          <a:srcRect l="34434" r="30993"/>
          <a:stretch/>
        </p:blipFill>
        <p:spPr>
          <a:xfrm>
            <a:off x="6477347" y="297135"/>
            <a:ext cx="1185525" cy="1051112"/>
          </a:xfrm>
          <a:prstGeom prst="rect">
            <a:avLst/>
          </a:prstGeom>
        </p:spPr>
      </p:pic>
      <p:pic>
        <p:nvPicPr>
          <p:cNvPr id="74" name="Picture 73" descr="Chart&#10;&#10;Description automatically generated">
            <a:extLst>
              <a:ext uri="{FF2B5EF4-FFF2-40B4-BE49-F238E27FC236}">
                <a16:creationId xmlns:a16="http://schemas.microsoft.com/office/drawing/2014/main" id="{C4CF0403-2A2E-4B42-9752-0BF4A076A047}"/>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30745" r="33257"/>
          <a:stretch/>
        </p:blipFill>
        <p:spPr>
          <a:xfrm>
            <a:off x="4696572" y="3896890"/>
            <a:ext cx="1157765" cy="914885"/>
          </a:xfrm>
          <a:prstGeom prst="rect">
            <a:avLst/>
          </a:prstGeom>
        </p:spPr>
      </p:pic>
      <p:sp>
        <p:nvSpPr>
          <p:cNvPr id="75" name="Thought Bubble: Cloud 74">
            <a:extLst>
              <a:ext uri="{FF2B5EF4-FFF2-40B4-BE49-F238E27FC236}">
                <a16:creationId xmlns:a16="http://schemas.microsoft.com/office/drawing/2014/main" id="{6D1BC026-B62F-486D-BDDD-FD9F7AF0CF17}"/>
              </a:ext>
            </a:extLst>
          </p:cNvPr>
          <p:cNvSpPr/>
          <p:nvPr/>
        </p:nvSpPr>
        <p:spPr>
          <a:xfrm>
            <a:off x="6020824" y="128270"/>
            <a:ext cx="2056375" cy="1391037"/>
          </a:xfrm>
          <a:prstGeom prst="cloudCallout">
            <a:avLst/>
          </a:prstGeom>
          <a:noFill/>
          <a:ln>
            <a:solidFill>
              <a:srgbClr val="0B53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hought Bubble: Cloud 75">
            <a:extLst>
              <a:ext uri="{FF2B5EF4-FFF2-40B4-BE49-F238E27FC236}">
                <a16:creationId xmlns:a16="http://schemas.microsoft.com/office/drawing/2014/main" id="{61034DCA-47E1-4056-9AFF-95D987A3D056}"/>
              </a:ext>
            </a:extLst>
          </p:cNvPr>
          <p:cNvSpPr/>
          <p:nvPr/>
        </p:nvSpPr>
        <p:spPr>
          <a:xfrm rot="12871688">
            <a:off x="4247268" y="3551471"/>
            <a:ext cx="2056375" cy="1391037"/>
          </a:xfrm>
          <a:prstGeom prst="cloudCallout">
            <a:avLst/>
          </a:prstGeom>
          <a:noFill/>
          <a:ln>
            <a:solidFill>
              <a:srgbClr val="F1A3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500"/>
                                        <p:tgtEl>
                                          <p:spTgt spid="7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Down Arrow 7">
            <a:extLst>
              <a:ext uri="{FF2B5EF4-FFF2-40B4-BE49-F238E27FC236}">
                <a16:creationId xmlns:a16="http://schemas.microsoft.com/office/drawing/2014/main" id="{8BA8CEA2-A921-4AD3-A719-24BAF2D702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0862E7B4-7FA8-4DC5-8B4D-E1637DB653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8769" y="361950"/>
            <a:ext cx="5638800" cy="4419600"/>
          </a:xfrm>
          <a:prstGeom prst="rect">
            <a:avLst/>
          </a:prstGeom>
        </p:spPr>
      </p:pic>
      <p:sp>
        <p:nvSpPr>
          <p:cNvPr id="5" name="Title 1">
            <a:extLst>
              <a:ext uri="{FF2B5EF4-FFF2-40B4-BE49-F238E27FC236}">
                <a16:creationId xmlns:a16="http://schemas.microsoft.com/office/drawing/2014/main" id="{05053DF2-A46B-4FC9-B005-D306B32FEFCA}"/>
              </a:ext>
            </a:extLst>
          </p:cNvPr>
          <p:cNvSpPr>
            <a:spLocks noGrp="1"/>
          </p:cNvSpPr>
          <p:nvPr>
            <p:ph type="title"/>
          </p:nvPr>
        </p:nvSpPr>
        <p:spPr>
          <a:xfrm>
            <a:off x="653536" y="1741269"/>
            <a:ext cx="2508859" cy="1292662"/>
          </a:xfrm>
        </p:spPr>
        <p:txBody>
          <a:bodyPr/>
          <a:lstStyle/>
          <a:p>
            <a:r>
              <a:rPr lang="en-US" dirty="0">
                <a:solidFill>
                  <a:schemeClr val="bg1"/>
                </a:solidFill>
              </a:rPr>
              <a:t>Hardware &amp;</a:t>
            </a:r>
            <a:br>
              <a:rPr lang="en-US" dirty="0">
                <a:solidFill>
                  <a:schemeClr val="bg1"/>
                </a:solidFill>
              </a:rPr>
            </a:br>
            <a:r>
              <a:rPr lang="en-US" dirty="0">
                <a:solidFill>
                  <a:schemeClr val="bg1"/>
                </a:solidFill>
              </a:rPr>
              <a:t>Software </a:t>
            </a:r>
            <a:br>
              <a:rPr lang="en-US" dirty="0">
                <a:solidFill>
                  <a:schemeClr val="bg1"/>
                </a:solidFill>
              </a:rPr>
            </a:br>
            <a:r>
              <a:rPr lang="en-US" dirty="0">
                <a:solidFill>
                  <a:schemeClr val="bg1"/>
                </a:solidFill>
              </a:rPr>
              <a:t>Requirements</a:t>
            </a:r>
          </a:p>
        </p:txBody>
      </p:sp>
      <p:sp>
        <p:nvSpPr>
          <p:cNvPr id="7" name="TextBox 6">
            <a:extLst>
              <a:ext uri="{FF2B5EF4-FFF2-40B4-BE49-F238E27FC236}">
                <a16:creationId xmlns:a16="http://schemas.microsoft.com/office/drawing/2014/main" id="{131A488F-E2CD-442D-9BA5-7C38EEC6CD7D}"/>
              </a:ext>
            </a:extLst>
          </p:cNvPr>
          <p:cNvSpPr txBox="1"/>
          <p:nvPr/>
        </p:nvSpPr>
        <p:spPr>
          <a:xfrm>
            <a:off x="3774303" y="844354"/>
            <a:ext cx="1383800" cy="276999"/>
          </a:xfrm>
          <a:prstGeom prst="rect">
            <a:avLst/>
          </a:prstGeom>
          <a:noFill/>
        </p:spPr>
        <p:txBody>
          <a:bodyPr wrap="square" rtlCol="0">
            <a:spAutoFit/>
          </a:bodyPr>
          <a:lstStyle/>
          <a:p>
            <a:r>
              <a:rPr lang="en-US" sz="1200" dirty="0">
                <a:solidFill>
                  <a:srgbClr val="74695C"/>
                </a:solidFill>
                <a:latin typeface="Trebuchet MS" panose="020B0603020202020204" pitchFamily="34" charset="0"/>
              </a:rPr>
              <a:t>Android Studio</a:t>
            </a:r>
          </a:p>
        </p:txBody>
      </p:sp>
      <p:sp>
        <p:nvSpPr>
          <p:cNvPr id="9" name="TextBox 8">
            <a:extLst>
              <a:ext uri="{FF2B5EF4-FFF2-40B4-BE49-F238E27FC236}">
                <a16:creationId xmlns:a16="http://schemas.microsoft.com/office/drawing/2014/main" id="{C7E48CEB-2844-4D1C-9A48-9D1A4988A655}"/>
              </a:ext>
            </a:extLst>
          </p:cNvPr>
          <p:cNvSpPr txBox="1"/>
          <p:nvPr/>
        </p:nvSpPr>
        <p:spPr>
          <a:xfrm>
            <a:off x="3619769" y="1809750"/>
            <a:ext cx="1066800" cy="307777"/>
          </a:xfrm>
          <a:prstGeom prst="rect">
            <a:avLst/>
          </a:prstGeom>
          <a:noFill/>
        </p:spPr>
        <p:txBody>
          <a:bodyPr wrap="square" rtlCol="0">
            <a:spAutoFit/>
          </a:bodyPr>
          <a:lstStyle/>
          <a:p>
            <a:r>
              <a:rPr lang="en-US" sz="1400" dirty="0">
                <a:solidFill>
                  <a:srgbClr val="74695C"/>
                </a:solidFill>
                <a:latin typeface="Trebuchet MS" panose="020B0603020202020204" pitchFamily="34" charset="0"/>
              </a:rPr>
              <a:t>Python IDE</a:t>
            </a:r>
          </a:p>
        </p:txBody>
      </p:sp>
      <p:sp>
        <p:nvSpPr>
          <p:cNvPr id="10" name="TextBox 9">
            <a:extLst>
              <a:ext uri="{FF2B5EF4-FFF2-40B4-BE49-F238E27FC236}">
                <a16:creationId xmlns:a16="http://schemas.microsoft.com/office/drawing/2014/main" id="{9F1AE252-7F5E-4485-A72B-E65380B5FC34}"/>
              </a:ext>
            </a:extLst>
          </p:cNvPr>
          <p:cNvSpPr txBox="1"/>
          <p:nvPr/>
        </p:nvSpPr>
        <p:spPr>
          <a:xfrm>
            <a:off x="3897607" y="2901856"/>
            <a:ext cx="788962" cy="307777"/>
          </a:xfrm>
          <a:prstGeom prst="rect">
            <a:avLst/>
          </a:prstGeom>
          <a:noFill/>
        </p:spPr>
        <p:txBody>
          <a:bodyPr wrap="square" rtlCol="0">
            <a:spAutoFit/>
          </a:bodyPr>
          <a:lstStyle/>
          <a:p>
            <a:r>
              <a:rPr lang="en-US" sz="1400" dirty="0">
                <a:solidFill>
                  <a:srgbClr val="74695C"/>
                </a:solidFill>
                <a:latin typeface="Trebuchet MS" panose="020B0603020202020204" pitchFamily="34" charset="0"/>
              </a:rPr>
              <a:t>Jupyter</a:t>
            </a:r>
          </a:p>
        </p:txBody>
      </p:sp>
      <p:sp>
        <p:nvSpPr>
          <p:cNvPr id="11" name="TextBox 10">
            <a:extLst>
              <a:ext uri="{FF2B5EF4-FFF2-40B4-BE49-F238E27FC236}">
                <a16:creationId xmlns:a16="http://schemas.microsoft.com/office/drawing/2014/main" id="{38DD3644-6DDE-472F-A711-2646BDC3A1F3}"/>
              </a:ext>
            </a:extLst>
          </p:cNvPr>
          <p:cNvSpPr txBox="1"/>
          <p:nvPr/>
        </p:nvSpPr>
        <p:spPr>
          <a:xfrm>
            <a:off x="7166399" y="813576"/>
            <a:ext cx="811103" cy="307777"/>
          </a:xfrm>
          <a:prstGeom prst="rect">
            <a:avLst/>
          </a:prstGeom>
          <a:noFill/>
        </p:spPr>
        <p:txBody>
          <a:bodyPr wrap="square" rtlCol="0">
            <a:spAutoFit/>
          </a:bodyPr>
          <a:lstStyle/>
          <a:p>
            <a:r>
              <a:rPr lang="en-US" sz="1400" dirty="0">
                <a:solidFill>
                  <a:srgbClr val="74695C"/>
                </a:solidFill>
                <a:latin typeface="Trebuchet MS" panose="020B0603020202020204" pitchFamily="34" charset="0"/>
              </a:rPr>
              <a:t>Flutter</a:t>
            </a:r>
          </a:p>
        </p:txBody>
      </p:sp>
      <p:sp>
        <p:nvSpPr>
          <p:cNvPr id="12" name="TextBox 11">
            <a:extLst>
              <a:ext uri="{FF2B5EF4-FFF2-40B4-BE49-F238E27FC236}">
                <a16:creationId xmlns:a16="http://schemas.microsoft.com/office/drawing/2014/main" id="{43E29CFF-46DA-4EAD-A5C6-08796815457F}"/>
              </a:ext>
            </a:extLst>
          </p:cNvPr>
          <p:cNvSpPr txBox="1"/>
          <p:nvPr/>
        </p:nvSpPr>
        <p:spPr>
          <a:xfrm>
            <a:off x="7255300" y="1655861"/>
            <a:ext cx="983261" cy="307777"/>
          </a:xfrm>
          <a:prstGeom prst="rect">
            <a:avLst/>
          </a:prstGeom>
          <a:noFill/>
        </p:spPr>
        <p:txBody>
          <a:bodyPr wrap="square" rtlCol="0">
            <a:spAutoFit/>
          </a:bodyPr>
          <a:lstStyle/>
          <a:p>
            <a:r>
              <a:rPr lang="en-US" sz="1400" dirty="0">
                <a:solidFill>
                  <a:srgbClr val="74695C"/>
                </a:solidFill>
                <a:latin typeface="Trebuchet MS" panose="020B0603020202020204" pitchFamily="34" charset="0"/>
              </a:rPr>
              <a:t>StreamLit</a:t>
            </a:r>
          </a:p>
        </p:txBody>
      </p:sp>
      <p:sp>
        <p:nvSpPr>
          <p:cNvPr id="14" name="TextBox 13">
            <a:extLst>
              <a:ext uri="{FF2B5EF4-FFF2-40B4-BE49-F238E27FC236}">
                <a16:creationId xmlns:a16="http://schemas.microsoft.com/office/drawing/2014/main" id="{3B3EA007-6894-4A29-B403-0CEA0868D568}"/>
              </a:ext>
            </a:extLst>
          </p:cNvPr>
          <p:cNvSpPr txBox="1"/>
          <p:nvPr/>
        </p:nvSpPr>
        <p:spPr>
          <a:xfrm>
            <a:off x="7706163" y="2417861"/>
            <a:ext cx="815006" cy="307777"/>
          </a:xfrm>
          <a:prstGeom prst="rect">
            <a:avLst/>
          </a:prstGeom>
          <a:noFill/>
        </p:spPr>
        <p:txBody>
          <a:bodyPr wrap="square" rtlCol="0">
            <a:spAutoFit/>
          </a:bodyPr>
          <a:lstStyle/>
          <a:p>
            <a:r>
              <a:rPr lang="en-US" sz="1400" dirty="0">
                <a:solidFill>
                  <a:srgbClr val="74695C"/>
                </a:solidFill>
                <a:latin typeface="Trebuchet MS" panose="020B0603020202020204" pitchFamily="34" charset="0"/>
              </a:rPr>
              <a:t>Python</a:t>
            </a:r>
          </a:p>
        </p:txBody>
      </p:sp>
      <p:sp>
        <p:nvSpPr>
          <p:cNvPr id="17" name="TextBox 16">
            <a:extLst>
              <a:ext uri="{FF2B5EF4-FFF2-40B4-BE49-F238E27FC236}">
                <a16:creationId xmlns:a16="http://schemas.microsoft.com/office/drawing/2014/main" id="{33621D1E-11CF-422E-A40F-C8E446AF60DC}"/>
              </a:ext>
            </a:extLst>
          </p:cNvPr>
          <p:cNvSpPr txBox="1"/>
          <p:nvPr/>
        </p:nvSpPr>
        <p:spPr>
          <a:xfrm>
            <a:off x="3018994" y="4620017"/>
            <a:ext cx="1905000" cy="461665"/>
          </a:xfrm>
          <a:prstGeom prst="rect">
            <a:avLst/>
          </a:prstGeom>
          <a:noFill/>
        </p:spPr>
        <p:txBody>
          <a:bodyPr wrap="square">
            <a:spAutoFit/>
          </a:bodyPr>
          <a:lstStyle/>
          <a:p>
            <a:pPr algn="ctr"/>
            <a:r>
              <a:rPr lang="en-US" sz="1200" b="1" dirty="0">
                <a:latin typeface="Trebuchet MS" panose="020B0603020202020204" pitchFamily="34" charset="0"/>
              </a:rPr>
              <a:t>Memory</a:t>
            </a:r>
            <a:r>
              <a:rPr lang="en-US" sz="1200" dirty="0">
                <a:latin typeface="Trebuchet MS" panose="020B0603020202020204" pitchFamily="34" charset="0"/>
              </a:rPr>
              <a:t> :</a:t>
            </a:r>
          </a:p>
          <a:p>
            <a:pPr algn="ctr"/>
            <a:r>
              <a:rPr lang="en-US" sz="1200" dirty="0">
                <a:latin typeface="Trebuchet MS" panose="020B0603020202020204" pitchFamily="34" charset="0"/>
              </a:rPr>
              <a:t>4 GB RAM and above</a:t>
            </a:r>
          </a:p>
        </p:txBody>
      </p:sp>
      <p:sp>
        <p:nvSpPr>
          <p:cNvPr id="18" name="TextBox 17">
            <a:extLst>
              <a:ext uri="{FF2B5EF4-FFF2-40B4-BE49-F238E27FC236}">
                <a16:creationId xmlns:a16="http://schemas.microsoft.com/office/drawing/2014/main" id="{7A03B6F8-A722-4619-8CA4-248580F8000A}"/>
              </a:ext>
            </a:extLst>
          </p:cNvPr>
          <p:cNvSpPr txBox="1"/>
          <p:nvPr/>
        </p:nvSpPr>
        <p:spPr>
          <a:xfrm>
            <a:off x="4038869" y="4295483"/>
            <a:ext cx="1905000" cy="461665"/>
          </a:xfrm>
          <a:prstGeom prst="rect">
            <a:avLst/>
          </a:prstGeom>
          <a:noFill/>
        </p:spPr>
        <p:txBody>
          <a:bodyPr wrap="square">
            <a:spAutoFit/>
          </a:bodyPr>
          <a:lstStyle/>
          <a:p>
            <a:pPr algn="ctr"/>
            <a:r>
              <a:rPr lang="en-US" sz="1200" b="1" dirty="0">
                <a:latin typeface="Trebuchet MS" panose="020B0603020202020204" pitchFamily="34" charset="0"/>
              </a:rPr>
              <a:t>Processor</a:t>
            </a:r>
            <a:r>
              <a:rPr lang="en-US" sz="1200" dirty="0">
                <a:latin typeface="Trebuchet MS" panose="020B0603020202020204" pitchFamily="34" charset="0"/>
              </a:rPr>
              <a:t> :</a:t>
            </a:r>
          </a:p>
          <a:p>
            <a:pPr algn="ctr"/>
            <a:r>
              <a:rPr lang="en-US" sz="1200" dirty="0">
                <a:latin typeface="Trebuchet MS" panose="020B0603020202020204" pitchFamily="34" charset="0"/>
              </a:rPr>
              <a:t>2.3GHz and above</a:t>
            </a:r>
          </a:p>
        </p:txBody>
      </p:sp>
      <p:sp>
        <p:nvSpPr>
          <p:cNvPr id="19" name="TextBox 18">
            <a:extLst>
              <a:ext uri="{FF2B5EF4-FFF2-40B4-BE49-F238E27FC236}">
                <a16:creationId xmlns:a16="http://schemas.microsoft.com/office/drawing/2014/main" id="{FA82A87D-B7B8-4BAF-A05D-0F528D924D6B}"/>
              </a:ext>
            </a:extLst>
          </p:cNvPr>
          <p:cNvSpPr txBox="1"/>
          <p:nvPr/>
        </p:nvSpPr>
        <p:spPr>
          <a:xfrm>
            <a:off x="5968469" y="4295482"/>
            <a:ext cx="1905000" cy="461665"/>
          </a:xfrm>
          <a:prstGeom prst="rect">
            <a:avLst/>
          </a:prstGeom>
          <a:noFill/>
        </p:spPr>
        <p:txBody>
          <a:bodyPr wrap="square">
            <a:spAutoFit/>
          </a:bodyPr>
          <a:lstStyle/>
          <a:p>
            <a:pPr algn="ctr"/>
            <a:r>
              <a:rPr lang="en-US" sz="1200" b="1" dirty="0">
                <a:latin typeface="Trebuchet MS" panose="020B0603020202020204" pitchFamily="34" charset="0"/>
              </a:rPr>
              <a:t>Hard Drive</a:t>
            </a:r>
            <a:r>
              <a:rPr lang="en-US" sz="1200" dirty="0">
                <a:latin typeface="Trebuchet MS" panose="020B0603020202020204" pitchFamily="34" charset="0"/>
              </a:rPr>
              <a:t> :</a:t>
            </a:r>
          </a:p>
          <a:p>
            <a:pPr algn="ctr"/>
            <a:r>
              <a:rPr lang="en-US" sz="1200" dirty="0">
                <a:latin typeface="Trebuchet MS" panose="020B0603020202020204" pitchFamily="34" charset="0"/>
              </a:rPr>
              <a:t>8GB free space or above</a:t>
            </a:r>
          </a:p>
        </p:txBody>
      </p:sp>
      <p:sp>
        <p:nvSpPr>
          <p:cNvPr id="20" name="TextBox 19">
            <a:extLst>
              <a:ext uri="{FF2B5EF4-FFF2-40B4-BE49-F238E27FC236}">
                <a16:creationId xmlns:a16="http://schemas.microsoft.com/office/drawing/2014/main" id="{D41A535D-F2AC-4BD8-A1E3-74E7C267B3D8}"/>
              </a:ext>
            </a:extLst>
          </p:cNvPr>
          <p:cNvSpPr txBox="1"/>
          <p:nvPr/>
        </p:nvSpPr>
        <p:spPr>
          <a:xfrm>
            <a:off x="6958800" y="4654846"/>
            <a:ext cx="2185200" cy="461665"/>
          </a:xfrm>
          <a:prstGeom prst="rect">
            <a:avLst/>
          </a:prstGeom>
          <a:noFill/>
        </p:spPr>
        <p:txBody>
          <a:bodyPr wrap="square">
            <a:spAutoFit/>
          </a:bodyPr>
          <a:lstStyle/>
          <a:p>
            <a:pPr algn="ctr"/>
            <a:r>
              <a:rPr lang="en-US" sz="1200" b="1" dirty="0">
                <a:latin typeface="Trebuchet MS" panose="020B0603020202020204" pitchFamily="34" charset="0"/>
              </a:rPr>
              <a:t>Internet</a:t>
            </a:r>
            <a:r>
              <a:rPr lang="en-US" sz="1200" dirty="0">
                <a:latin typeface="Trebuchet MS" panose="020B0603020202020204" pitchFamily="34" charset="0"/>
              </a:rPr>
              <a:t> :</a:t>
            </a:r>
          </a:p>
          <a:p>
            <a:pPr algn="ctr"/>
            <a:r>
              <a:rPr lang="en-US" sz="1200" dirty="0">
                <a:latin typeface="Trebuchet MS" panose="020B0603020202020204" pitchFamily="34" charset="0"/>
              </a:rPr>
              <a:t>Stable Internet Connectivity</a:t>
            </a:r>
          </a:p>
        </p:txBody>
      </p:sp>
      <p:pic>
        <p:nvPicPr>
          <p:cNvPr id="21" name="object 24">
            <a:extLst>
              <a:ext uri="{FF2B5EF4-FFF2-40B4-BE49-F238E27FC236}">
                <a16:creationId xmlns:a16="http://schemas.microsoft.com/office/drawing/2014/main" id="{97CE667E-B3C4-4CE1-A6A8-BFB0210AC0AE}"/>
              </a:ext>
            </a:extLst>
          </p:cNvPr>
          <p:cNvPicPr/>
          <p:nvPr/>
        </p:nvPicPr>
        <p:blipFill rotWithShape="1">
          <a:blip r:embed="rId3" cstate="print"/>
          <a:srcRect t="3" r="71439" b="-4"/>
          <a:stretch/>
        </p:blipFill>
        <p:spPr>
          <a:xfrm>
            <a:off x="8440006" y="1717816"/>
            <a:ext cx="304800" cy="183866"/>
          </a:xfrm>
          <a:prstGeom prst="rect">
            <a:avLst/>
          </a:prstGeom>
        </p:spPr>
      </p:pic>
      <p:pic>
        <p:nvPicPr>
          <p:cNvPr id="23" name="Picture 22">
            <a:extLst>
              <a:ext uri="{FF2B5EF4-FFF2-40B4-BE49-F238E27FC236}">
                <a16:creationId xmlns:a16="http://schemas.microsoft.com/office/drawing/2014/main" id="{4590AACF-EBBD-458B-82CF-FA8F95CFA8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0756" y="448553"/>
            <a:ext cx="380413" cy="380413"/>
          </a:xfrm>
          <a:prstGeom prst="rect">
            <a:avLst/>
          </a:prstGeom>
        </p:spPr>
      </p:pic>
      <p:pic>
        <p:nvPicPr>
          <p:cNvPr id="25" name="Picture 24">
            <a:extLst>
              <a:ext uri="{FF2B5EF4-FFF2-40B4-BE49-F238E27FC236}">
                <a16:creationId xmlns:a16="http://schemas.microsoft.com/office/drawing/2014/main" id="{936C9FAA-EDA7-43ED-B7E3-2A87CCF5CD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76147" y="2849781"/>
            <a:ext cx="368300" cy="368300"/>
          </a:xfrm>
          <a:prstGeom prst="rect">
            <a:avLst/>
          </a:prstGeom>
        </p:spPr>
      </p:pic>
      <p:pic>
        <p:nvPicPr>
          <p:cNvPr id="26" name="Picture 25">
            <a:extLst>
              <a:ext uri="{FF2B5EF4-FFF2-40B4-BE49-F238E27FC236}">
                <a16:creationId xmlns:a16="http://schemas.microsoft.com/office/drawing/2014/main" id="{8C2388ED-12DA-42AF-8B5B-12759B4F25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73055" y="1701034"/>
            <a:ext cx="368300" cy="368300"/>
          </a:xfrm>
          <a:prstGeom prst="rect">
            <a:avLst/>
          </a:prstGeom>
        </p:spPr>
      </p:pic>
      <p:pic>
        <p:nvPicPr>
          <p:cNvPr id="28" name="Picture 27" descr="Icon&#10;&#10;Description automatically generated">
            <a:extLst>
              <a:ext uri="{FF2B5EF4-FFF2-40B4-BE49-F238E27FC236}">
                <a16:creationId xmlns:a16="http://schemas.microsoft.com/office/drawing/2014/main" id="{CDD5F6D1-FBC1-47B4-B6E6-0B48760C256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85493" y="638759"/>
            <a:ext cx="414377" cy="414377"/>
          </a:xfrm>
          <a:prstGeom prst="rect">
            <a:avLst/>
          </a:prstGeom>
        </p:spPr>
      </p:pic>
      <p:pic>
        <p:nvPicPr>
          <p:cNvPr id="30" name="Picture 29" descr="Logo&#10;&#10;Description automatically generated">
            <a:extLst>
              <a:ext uri="{FF2B5EF4-FFF2-40B4-BE49-F238E27FC236}">
                <a16:creationId xmlns:a16="http://schemas.microsoft.com/office/drawing/2014/main" id="{D18F4EFF-2074-4D74-AAA4-5BD2FC480C2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4742"/>
          <a:stretch/>
        </p:blipFill>
        <p:spPr>
          <a:xfrm>
            <a:off x="3274625" y="3186799"/>
            <a:ext cx="485344" cy="488254"/>
          </a:xfrm>
          <a:prstGeom prst="rect">
            <a:avLst/>
          </a:prstGeom>
        </p:spPr>
      </p:pic>
      <p:sp>
        <p:nvSpPr>
          <p:cNvPr id="31" name="Rectangle: Rounded Corners 30">
            <a:extLst>
              <a:ext uri="{FF2B5EF4-FFF2-40B4-BE49-F238E27FC236}">
                <a16:creationId xmlns:a16="http://schemas.microsoft.com/office/drawing/2014/main" id="{66AE9E2F-25CA-4D05-B588-6D543270D425}"/>
              </a:ext>
            </a:extLst>
          </p:cNvPr>
          <p:cNvSpPr/>
          <p:nvPr/>
        </p:nvSpPr>
        <p:spPr>
          <a:xfrm>
            <a:off x="3774303" y="155957"/>
            <a:ext cx="1221944" cy="313670"/>
          </a:xfrm>
          <a:prstGeom prst="roundRect">
            <a:avLst/>
          </a:prstGeom>
          <a:solidFill>
            <a:srgbClr val="E5B73C"/>
          </a:solidFill>
          <a:ln>
            <a:solidFill>
              <a:srgbClr val="E5B7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74695C"/>
                </a:solidFill>
              </a:rPr>
              <a:t>Software's</a:t>
            </a:r>
          </a:p>
        </p:txBody>
      </p:sp>
      <p:sp>
        <p:nvSpPr>
          <p:cNvPr id="32" name="Rectangle: Rounded Corners 31">
            <a:extLst>
              <a:ext uri="{FF2B5EF4-FFF2-40B4-BE49-F238E27FC236}">
                <a16:creationId xmlns:a16="http://schemas.microsoft.com/office/drawing/2014/main" id="{D1FAA067-1E36-435F-A823-1188667B67A9}"/>
              </a:ext>
            </a:extLst>
          </p:cNvPr>
          <p:cNvSpPr/>
          <p:nvPr/>
        </p:nvSpPr>
        <p:spPr>
          <a:xfrm>
            <a:off x="6891722" y="108239"/>
            <a:ext cx="1221944" cy="313670"/>
          </a:xfrm>
          <a:prstGeom prst="roundRect">
            <a:avLst/>
          </a:prstGeom>
          <a:solidFill>
            <a:srgbClr val="D66350"/>
          </a:solidFill>
          <a:ln>
            <a:solidFill>
              <a:srgbClr val="D66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anguages</a:t>
            </a:r>
          </a:p>
        </p:txBody>
      </p:sp>
      <p:sp>
        <p:nvSpPr>
          <p:cNvPr id="33" name="Rectangle: Rounded Corners 32">
            <a:extLst>
              <a:ext uri="{FF2B5EF4-FFF2-40B4-BE49-F238E27FC236}">
                <a16:creationId xmlns:a16="http://schemas.microsoft.com/office/drawing/2014/main" id="{75E5ACC8-C43C-4209-87CB-0A6BF9846133}"/>
              </a:ext>
            </a:extLst>
          </p:cNvPr>
          <p:cNvSpPr/>
          <p:nvPr/>
        </p:nvSpPr>
        <p:spPr>
          <a:xfrm>
            <a:off x="5351104" y="3882708"/>
            <a:ext cx="1234730" cy="415311"/>
          </a:xfrm>
          <a:prstGeom prst="roundRect">
            <a:avLst/>
          </a:prstGeom>
          <a:solidFill>
            <a:srgbClr val="E5B73C"/>
          </a:solidFill>
          <a:ln>
            <a:solidFill>
              <a:srgbClr val="E5B7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lumMod val="95000"/>
                    <a:lumOff val="5000"/>
                  </a:schemeClr>
                </a:solidFill>
                <a:latin typeface="Trebuchet MS" panose="020B0603020202020204" pitchFamily="34" charset="0"/>
              </a:rPr>
              <a:t>Hardware</a:t>
            </a:r>
          </a:p>
          <a:p>
            <a:pPr algn="ctr"/>
            <a:r>
              <a:rPr lang="en-US" sz="1200" b="1" dirty="0">
                <a:solidFill>
                  <a:schemeClr val="tx1">
                    <a:lumMod val="95000"/>
                    <a:lumOff val="5000"/>
                  </a:schemeClr>
                </a:solidFill>
                <a:latin typeface="Trebuchet MS" panose="020B0603020202020204" pitchFamily="34" charset="0"/>
              </a:rPr>
              <a:t>Requirements</a:t>
            </a:r>
          </a:p>
        </p:txBody>
      </p:sp>
    </p:spTree>
    <p:extLst>
      <p:ext uri="{BB962C8B-B14F-4D97-AF65-F5344CB8AC3E}">
        <p14:creationId xmlns:p14="http://schemas.microsoft.com/office/powerpoint/2010/main" val="745379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455197" y="1727923"/>
            <a:ext cx="1571808" cy="1815365"/>
          </a:xfrm>
          <a:prstGeom prst="rect">
            <a:avLst/>
          </a:prstGeom>
        </p:spPr>
      </p:pic>
      <p:pic>
        <p:nvPicPr>
          <p:cNvPr id="4" name="object 4"/>
          <p:cNvPicPr/>
          <p:nvPr/>
        </p:nvPicPr>
        <p:blipFill>
          <a:blip r:embed="rId3" cstate="print"/>
          <a:stretch>
            <a:fillRect/>
          </a:stretch>
        </p:blipFill>
        <p:spPr>
          <a:xfrm>
            <a:off x="2238250" y="2464900"/>
            <a:ext cx="1421130" cy="2010773"/>
          </a:xfrm>
          <a:prstGeom prst="rect">
            <a:avLst/>
          </a:prstGeom>
        </p:spPr>
      </p:pic>
      <p:pic>
        <p:nvPicPr>
          <p:cNvPr id="5" name="object 5"/>
          <p:cNvPicPr/>
          <p:nvPr/>
        </p:nvPicPr>
        <p:blipFill>
          <a:blip r:embed="rId4" cstate="print"/>
          <a:stretch>
            <a:fillRect/>
          </a:stretch>
        </p:blipFill>
        <p:spPr>
          <a:xfrm>
            <a:off x="5485374" y="2819721"/>
            <a:ext cx="1421130" cy="1655864"/>
          </a:xfrm>
          <a:prstGeom prst="rect">
            <a:avLst/>
          </a:prstGeom>
        </p:spPr>
      </p:pic>
      <p:pic>
        <p:nvPicPr>
          <p:cNvPr id="6" name="object 6"/>
          <p:cNvPicPr/>
          <p:nvPr/>
        </p:nvPicPr>
        <p:blipFill>
          <a:blip r:embed="rId5" cstate="print"/>
          <a:stretch>
            <a:fillRect/>
          </a:stretch>
        </p:blipFill>
        <p:spPr>
          <a:xfrm>
            <a:off x="7106849" y="1727925"/>
            <a:ext cx="1421130" cy="1918550"/>
          </a:xfrm>
          <a:prstGeom prst="rect">
            <a:avLst/>
          </a:prstGeom>
        </p:spPr>
      </p:pic>
      <p:pic>
        <p:nvPicPr>
          <p:cNvPr id="7" name="object 7"/>
          <p:cNvPicPr/>
          <p:nvPr/>
        </p:nvPicPr>
        <p:blipFill>
          <a:blip r:embed="rId6" cstate="print"/>
          <a:stretch>
            <a:fillRect/>
          </a:stretch>
        </p:blipFill>
        <p:spPr>
          <a:xfrm>
            <a:off x="3853331" y="1249474"/>
            <a:ext cx="1421130" cy="2088661"/>
          </a:xfrm>
          <a:prstGeom prst="rect">
            <a:avLst/>
          </a:prstGeom>
        </p:spPr>
      </p:pic>
      <p:pic>
        <p:nvPicPr>
          <p:cNvPr id="8" name="object 8"/>
          <p:cNvPicPr/>
          <p:nvPr/>
        </p:nvPicPr>
        <p:blipFill>
          <a:blip r:embed="rId7" cstate="print"/>
          <a:stretch>
            <a:fillRect/>
          </a:stretch>
        </p:blipFill>
        <p:spPr>
          <a:xfrm>
            <a:off x="4093502" y="3595939"/>
            <a:ext cx="956533" cy="284930"/>
          </a:xfrm>
          <a:prstGeom prst="rect">
            <a:avLst/>
          </a:prstGeom>
        </p:spPr>
      </p:pic>
      <p:grpSp>
        <p:nvGrpSpPr>
          <p:cNvPr id="9" name="object 9"/>
          <p:cNvGrpSpPr/>
          <p:nvPr/>
        </p:nvGrpSpPr>
        <p:grpSpPr>
          <a:xfrm>
            <a:off x="3879565" y="3962549"/>
            <a:ext cx="1384935" cy="772160"/>
            <a:chOff x="3879565" y="3962549"/>
            <a:chExt cx="1384935" cy="772160"/>
          </a:xfrm>
        </p:grpSpPr>
        <p:pic>
          <p:nvPicPr>
            <p:cNvPr id="10" name="object 10"/>
            <p:cNvPicPr/>
            <p:nvPr/>
          </p:nvPicPr>
          <p:blipFill>
            <a:blip r:embed="rId8" cstate="print"/>
            <a:stretch>
              <a:fillRect/>
            </a:stretch>
          </p:blipFill>
          <p:spPr>
            <a:xfrm>
              <a:off x="3879565" y="3962549"/>
              <a:ext cx="1384509" cy="338608"/>
            </a:xfrm>
            <a:prstGeom prst="rect">
              <a:avLst/>
            </a:prstGeom>
          </p:spPr>
        </p:pic>
        <p:pic>
          <p:nvPicPr>
            <p:cNvPr id="11" name="object 11"/>
            <p:cNvPicPr/>
            <p:nvPr/>
          </p:nvPicPr>
          <p:blipFill>
            <a:blip r:embed="rId9" cstate="print"/>
            <a:stretch>
              <a:fillRect/>
            </a:stretch>
          </p:blipFill>
          <p:spPr>
            <a:xfrm>
              <a:off x="3946862" y="4166875"/>
              <a:ext cx="1251000" cy="567300"/>
            </a:xfrm>
            <a:prstGeom prst="rect">
              <a:avLst/>
            </a:prstGeom>
          </p:spPr>
        </p:pic>
      </p:grpSp>
      <p:pic>
        <p:nvPicPr>
          <p:cNvPr id="12" name="object 12"/>
          <p:cNvPicPr/>
          <p:nvPr/>
        </p:nvPicPr>
        <p:blipFill>
          <a:blip r:embed="rId10" cstate="print"/>
          <a:stretch>
            <a:fillRect/>
          </a:stretch>
        </p:blipFill>
        <p:spPr>
          <a:xfrm>
            <a:off x="5612214" y="2106435"/>
            <a:ext cx="1156898" cy="622789"/>
          </a:xfrm>
          <a:prstGeom prst="rect">
            <a:avLst/>
          </a:prstGeom>
        </p:spPr>
      </p:pic>
      <p:grpSp>
        <p:nvGrpSpPr>
          <p:cNvPr id="13" name="object 13"/>
          <p:cNvGrpSpPr/>
          <p:nvPr/>
        </p:nvGrpSpPr>
        <p:grpSpPr>
          <a:xfrm>
            <a:off x="2256162" y="1634350"/>
            <a:ext cx="1421765" cy="709295"/>
            <a:chOff x="2256162" y="1634350"/>
            <a:chExt cx="1421765" cy="709295"/>
          </a:xfrm>
        </p:grpSpPr>
        <p:pic>
          <p:nvPicPr>
            <p:cNvPr id="14" name="object 14"/>
            <p:cNvPicPr/>
            <p:nvPr/>
          </p:nvPicPr>
          <p:blipFill>
            <a:blip r:embed="rId11" cstate="print"/>
            <a:stretch>
              <a:fillRect/>
            </a:stretch>
          </p:blipFill>
          <p:spPr>
            <a:xfrm>
              <a:off x="2289012" y="1634350"/>
              <a:ext cx="1338175" cy="464200"/>
            </a:xfrm>
            <a:prstGeom prst="rect">
              <a:avLst/>
            </a:prstGeom>
          </p:spPr>
        </p:pic>
        <p:pic>
          <p:nvPicPr>
            <p:cNvPr id="15" name="object 15"/>
            <p:cNvPicPr/>
            <p:nvPr/>
          </p:nvPicPr>
          <p:blipFill>
            <a:blip r:embed="rId12" cstate="print"/>
            <a:stretch>
              <a:fillRect/>
            </a:stretch>
          </p:blipFill>
          <p:spPr>
            <a:xfrm>
              <a:off x="2256162" y="1999339"/>
              <a:ext cx="1421174" cy="343685"/>
            </a:xfrm>
            <a:prstGeom prst="rect">
              <a:avLst/>
            </a:prstGeom>
          </p:spPr>
        </p:pic>
      </p:grpSp>
      <p:grpSp>
        <p:nvGrpSpPr>
          <p:cNvPr id="16" name="object 16"/>
          <p:cNvGrpSpPr/>
          <p:nvPr/>
        </p:nvGrpSpPr>
        <p:grpSpPr>
          <a:xfrm>
            <a:off x="1170662" y="3747775"/>
            <a:ext cx="859790" cy="508000"/>
            <a:chOff x="1170662" y="3747775"/>
            <a:chExt cx="859790" cy="508000"/>
          </a:xfrm>
        </p:grpSpPr>
        <p:pic>
          <p:nvPicPr>
            <p:cNvPr id="17" name="object 17"/>
            <p:cNvPicPr/>
            <p:nvPr/>
          </p:nvPicPr>
          <p:blipFill>
            <a:blip r:embed="rId13" cstate="print"/>
            <a:stretch>
              <a:fillRect/>
            </a:stretch>
          </p:blipFill>
          <p:spPr>
            <a:xfrm>
              <a:off x="1215660" y="4075663"/>
              <a:ext cx="814200" cy="179843"/>
            </a:xfrm>
            <a:prstGeom prst="rect">
              <a:avLst/>
            </a:prstGeom>
          </p:spPr>
        </p:pic>
        <p:pic>
          <p:nvPicPr>
            <p:cNvPr id="18" name="object 18"/>
            <p:cNvPicPr/>
            <p:nvPr/>
          </p:nvPicPr>
          <p:blipFill>
            <a:blip r:embed="rId14" cstate="print"/>
            <a:stretch>
              <a:fillRect/>
            </a:stretch>
          </p:blipFill>
          <p:spPr>
            <a:xfrm>
              <a:off x="1170662" y="3747775"/>
              <a:ext cx="517133" cy="325624"/>
            </a:xfrm>
            <a:prstGeom prst="rect">
              <a:avLst/>
            </a:prstGeom>
          </p:spPr>
        </p:pic>
      </p:grpSp>
      <p:sp>
        <p:nvSpPr>
          <p:cNvPr id="20" name="object 20"/>
          <p:cNvSpPr txBox="1"/>
          <p:nvPr/>
        </p:nvSpPr>
        <p:spPr>
          <a:xfrm>
            <a:off x="4189101" y="4266316"/>
            <a:ext cx="766445" cy="375920"/>
          </a:xfrm>
          <a:prstGeom prst="rect">
            <a:avLst/>
          </a:prstGeom>
        </p:spPr>
        <p:txBody>
          <a:bodyPr vert="horz" wrap="square" lIns="0" tIns="12700" rIns="0" bIns="0" rtlCol="0">
            <a:spAutoFit/>
          </a:bodyPr>
          <a:lstStyle/>
          <a:p>
            <a:pPr marL="12700">
              <a:lnSpc>
                <a:spcPct val="100000"/>
              </a:lnSpc>
              <a:spcBef>
                <a:spcPts val="100"/>
              </a:spcBef>
            </a:pPr>
            <a:r>
              <a:rPr sz="2300" b="1" spc="-10" dirty="0">
                <a:solidFill>
                  <a:srgbClr val="0B5394"/>
                </a:solidFill>
                <a:latin typeface="Impact"/>
                <a:cs typeface="Impact"/>
              </a:rPr>
              <a:t>VADER</a:t>
            </a:r>
            <a:endParaRPr sz="2300" dirty="0">
              <a:latin typeface="Impact"/>
              <a:cs typeface="Impact"/>
            </a:endParaRPr>
          </a:p>
        </p:txBody>
      </p:sp>
      <p:grpSp>
        <p:nvGrpSpPr>
          <p:cNvPr id="21" name="object 21"/>
          <p:cNvGrpSpPr/>
          <p:nvPr/>
        </p:nvGrpSpPr>
        <p:grpSpPr>
          <a:xfrm>
            <a:off x="343917" y="1112949"/>
            <a:ext cx="8305123" cy="3446145"/>
            <a:chOff x="343917" y="1112949"/>
            <a:chExt cx="8305123" cy="3446145"/>
          </a:xfrm>
        </p:grpSpPr>
        <p:pic>
          <p:nvPicPr>
            <p:cNvPr id="22" name="object 22"/>
            <p:cNvPicPr/>
            <p:nvPr/>
          </p:nvPicPr>
          <p:blipFill>
            <a:blip r:embed="rId15" cstate="print"/>
            <a:stretch>
              <a:fillRect/>
            </a:stretch>
          </p:blipFill>
          <p:spPr>
            <a:xfrm>
              <a:off x="343917" y="3639691"/>
              <a:ext cx="770745" cy="698173"/>
            </a:xfrm>
            <a:prstGeom prst="rect">
              <a:avLst/>
            </a:prstGeom>
          </p:spPr>
        </p:pic>
        <p:sp>
          <p:nvSpPr>
            <p:cNvPr id="23" name="object 23"/>
            <p:cNvSpPr/>
            <p:nvPr/>
          </p:nvSpPr>
          <p:spPr>
            <a:xfrm>
              <a:off x="496275" y="1112949"/>
              <a:ext cx="8152765" cy="3446145"/>
            </a:xfrm>
            <a:custGeom>
              <a:avLst/>
              <a:gdLst/>
              <a:ahLst/>
              <a:cxnLst/>
              <a:rect l="l" t="t" r="r" b="b"/>
              <a:pathLst>
                <a:path w="8152765" h="3446145">
                  <a:moveTo>
                    <a:pt x="6091734" y="3445674"/>
                  </a:moveTo>
                  <a:lnTo>
                    <a:pt x="5315014" y="3445674"/>
                  </a:lnTo>
                  <a:lnTo>
                    <a:pt x="5263848" y="3443132"/>
                  </a:lnTo>
                  <a:lnTo>
                    <a:pt x="5214413" y="3435696"/>
                  </a:lnTo>
                  <a:lnTo>
                    <a:pt x="5167041" y="3423651"/>
                  </a:lnTo>
                  <a:lnTo>
                    <a:pt x="5122060" y="3407281"/>
                  </a:lnTo>
                  <a:lnTo>
                    <a:pt x="5079800" y="3386873"/>
                  </a:lnTo>
                  <a:lnTo>
                    <a:pt x="5040590" y="3362711"/>
                  </a:lnTo>
                  <a:lnTo>
                    <a:pt x="5004759" y="3335080"/>
                  </a:lnTo>
                  <a:lnTo>
                    <a:pt x="4972637" y="3304266"/>
                  </a:lnTo>
                  <a:lnTo>
                    <a:pt x="4944553" y="3270553"/>
                  </a:lnTo>
                  <a:lnTo>
                    <a:pt x="4920837" y="3234227"/>
                  </a:lnTo>
                  <a:lnTo>
                    <a:pt x="4901818" y="3195572"/>
                  </a:lnTo>
                  <a:lnTo>
                    <a:pt x="4887825" y="3154875"/>
                  </a:lnTo>
                  <a:lnTo>
                    <a:pt x="4879188" y="3112419"/>
                  </a:lnTo>
                  <a:lnTo>
                    <a:pt x="4876235" y="3068490"/>
                  </a:lnTo>
                  <a:lnTo>
                    <a:pt x="4876235" y="377184"/>
                  </a:lnTo>
                  <a:lnTo>
                    <a:pt x="4873375" y="334664"/>
                  </a:lnTo>
                  <a:lnTo>
                    <a:pt x="4865008" y="293577"/>
                  </a:lnTo>
                  <a:lnTo>
                    <a:pt x="4851454" y="254196"/>
                  </a:lnTo>
                  <a:lnTo>
                    <a:pt x="4833035" y="216796"/>
                  </a:lnTo>
                  <a:lnTo>
                    <a:pt x="4810070" y="181654"/>
                  </a:lnTo>
                  <a:lnTo>
                    <a:pt x="4782880" y="149043"/>
                  </a:lnTo>
                  <a:lnTo>
                    <a:pt x="4751786" y="119239"/>
                  </a:lnTo>
                  <a:lnTo>
                    <a:pt x="4717108" y="92517"/>
                  </a:lnTo>
                  <a:lnTo>
                    <a:pt x="4679167" y="69151"/>
                  </a:lnTo>
                  <a:lnTo>
                    <a:pt x="4638283" y="49417"/>
                  </a:lnTo>
                  <a:lnTo>
                    <a:pt x="4594776" y="33590"/>
                  </a:lnTo>
                  <a:lnTo>
                    <a:pt x="4548968" y="21944"/>
                  </a:lnTo>
                  <a:lnTo>
                    <a:pt x="4501179" y="14755"/>
                  </a:lnTo>
                  <a:lnTo>
                    <a:pt x="4451728" y="12298"/>
                  </a:lnTo>
                  <a:lnTo>
                    <a:pt x="3686195" y="12298"/>
                  </a:lnTo>
                  <a:lnTo>
                    <a:pt x="3636745" y="14755"/>
                  </a:lnTo>
                  <a:lnTo>
                    <a:pt x="3588956" y="21944"/>
                  </a:lnTo>
                  <a:lnTo>
                    <a:pt x="3543147" y="33590"/>
                  </a:lnTo>
                  <a:lnTo>
                    <a:pt x="3499641" y="49417"/>
                  </a:lnTo>
                  <a:lnTo>
                    <a:pt x="3458757" y="69151"/>
                  </a:lnTo>
                  <a:lnTo>
                    <a:pt x="3420816" y="92517"/>
                  </a:lnTo>
                  <a:lnTo>
                    <a:pt x="3386138" y="119239"/>
                  </a:lnTo>
                  <a:lnTo>
                    <a:pt x="3355044" y="149043"/>
                  </a:lnTo>
                  <a:lnTo>
                    <a:pt x="3327854" y="181654"/>
                  </a:lnTo>
                  <a:lnTo>
                    <a:pt x="3304889" y="216796"/>
                  </a:lnTo>
                  <a:lnTo>
                    <a:pt x="3286469" y="254196"/>
                  </a:lnTo>
                  <a:lnTo>
                    <a:pt x="3272916" y="293577"/>
                  </a:lnTo>
                  <a:lnTo>
                    <a:pt x="3264549" y="334664"/>
                  </a:lnTo>
                  <a:lnTo>
                    <a:pt x="3261688" y="377184"/>
                  </a:lnTo>
                  <a:lnTo>
                    <a:pt x="3261688" y="3068490"/>
                  </a:lnTo>
                  <a:lnTo>
                    <a:pt x="3258736" y="3112419"/>
                  </a:lnTo>
                  <a:lnTo>
                    <a:pt x="3250099" y="3154875"/>
                  </a:lnTo>
                  <a:lnTo>
                    <a:pt x="3236106" y="3195572"/>
                  </a:lnTo>
                  <a:lnTo>
                    <a:pt x="3217087" y="3234227"/>
                  </a:lnTo>
                  <a:lnTo>
                    <a:pt x="3193372" y="3270553"/>
                  </a:lnTo>
                  <a:lnTo>
                    <a:pt x="3165289" y="3304266"/>
                  </a:lnTo>
                  <a:lnTo>
                    <a:pt x="3133169" y="3335080"/>
                  </a:lnTo>
                  <a:lnTo>
                    <a:pt x="3097340" y="3362711"/>
                  </a:lnTo>
                  <a:lnTo>
                    <a:pt x="3058132" y="3386873"/>
                  </a:lnTo>
                  <a:lnTo>
                    <a:pt x="3015875" y="3407281"/>
                  </a:lnTo>
                  <a:lnTo>
                    <a:pt x="2970898" y="3423651"/>
                  </a:lnTo>
                  <a:lnTo>
                    <a:pt x="2923530" y="3435696"/>
                  </a:lnTo>
                  <a:lnTo>
                    <a:pt x="2874102" y="3443132"/>
                  </a:lnTo>
                  <a:lnTo>
                    <a:pt x="2822941" y="3445674"/>
                  </a:lnTo>
                  <a:lnTo>
                    <a:pt x="2063516" y="3445674"/>
                  </a:lnTo>
                  <a:lnTo>
                    <a:pt x="2012539" y="3443132"/>
                  </a:lnTo>
                  <a:lnTo>
                    <a:pt x="1963238" y="3435696"/>
                  </a:lnTo>
                  <a:lnTo>
                    <a:pt x="1915951" y="3423651"/>
                  </a:lnTo>
                  <a:lnTo>
                    <a:pt x="1871011" y="3407281"/>
                  </a:lnTo>
                  <a:lnTo>
                    <a:pt x="1828757" y="3386873"/>
                  </a:lnTo>
                  <a:lnTo>
                    <a:pt x="1789523" y="3362711"/>
                  </a:lnTo>
                  <a:lnTo>
                    <a:pt x="1753646" y="3335080"/>
                  </a:lnTo>
                  <a:lnTo>
                    <a:pt x="1721462" y="3304266"/>
                  </a:lnTo>
                  <a:lnTo>
                    <a:pt x="1693308" y="3270553"/>
                  </a:lnTo>
                  <a:lnTo>
                    <a:pt x="1669518" y="3234227"/>
                  </a:lnTo>
                  <a:lnTo>
                    <a:pt x="1650430" y="3195572"/>
                  </a:lnTo>
                  <a:lnTo>
                    <a:pt x="1636380" y="3154875"/>
                  </a:lnTo>
                  <a:lnTo>
                    <a:pt x="1627703" y="3112419"/>
                  </a:lnTo>
                  <a:lnTo>
                    <a:pt x="1624736" y="3068490"/>
                  </a:lnTo>
                  <a:lnTo>
                    <a:pt x="1624736" y="876306"/>
                  </a:lnTo>
                  <a:lnTo>
                    <a:pt x="1621424" y="830769"/>
                  </a:lnTo>
                  <a:lnTo>
                    <a:pt x="1611753" y="786889"/>
                  </a:lnTo>
                  <a:lnTo>
                    <a:pt x="1596125" y="745009"/>
                  </a:lnTo>
                  <a:lnTo>
                    <a:pt x="1574939" y="705477"/>
                  </a:lnTo>
                  <a:lnTo>
                    <a:pt x="1548596" y="668638"/>
                  </a:lnTo>
                  <a:lnTo>
                    <a:pt x="1517496" y="634838"/>
                  </a:lnTo>
                  <a:lnTo>
                    <a:pt x="1482039" y="604423"/>
                  </a:lnTo>
                  <a:lnTo>
                    <a:pt x="1442626" y="577738"/>
                  </a:lnTo>
                  <a:lnTo>
                    <a:pt x="1399658" y="555129"/>
                  </a:lnTo>
                  <a:lnTo>
                    <a:pt x="1353533" y="536943"/>
                  </a:lnTo>
                  <a:lnTo>
                    <a:pt x="1304654" y="523524"/>
                  </a:lnTo>
                  <a:lnTo>
                    <a:pt x="1253419" y="515220"/>
                  </a:lnTo>
                  <a:lnTo>
                    <a:pt x="1200229" y="512375"/>
                  </a:lnTo>
                  <a:lnTo>
                    <a:pt x="470345" y="512375"/>
                  </a:lnTo>
                  <a:lnTo>
                    <a:pt x="417233" y="515003"/>
                  </a:lnTo>
                  <a:lnTo>
                    <a:pt x="365901" y="522691"/>
                  </a:lnTo>
                  <a:lnTo>
                    <a:pt x="316694" y="535146"/>
                  </a:lnTo>
                  <a:lnTo>
                    <a:pt x="269956" y="552074"/>
                  </a:lnTo>
                  <a:lnTo>
                    <a:pt x="226032" y="573181"/>
                  </a:lnTo>
                  <a:lnTo>
                    <a:pt x="185268" y="598174"/>
                  </a:lnTo>
                  <a:lnTo>
                    <a:pt x="148007" y="626760"/>
                  </a:lnTo>
                  <a:lnTo>
                    <a:pt x="114596" y="658644"/>
                  </a:lnTo>
                  <a:lnTo>
                    <a:pt x="85378" y="693534"/>
                  </a:lnTo>
                  <a:lnTo>
                    <a:pt x="60700" y="731135"/>
                  </a:lnTo>
                  <a:lnTo>
                    <a:pt x="40905" y="771154"/>
                  </a:lnTo>
                  <a:lnTo>
                    <a:pt x="26339" y="813297"/>
                  </a:lnTo>
                  <a:lnTo>
                    <a:pt x="17346" y="857271"/>
                  </a:lnTo>
                  <a:lnTo>
                    <a:pt x="14272" y="902783"/>
                  </a:lnTo>
                  <a:lnTo>
                    <a:pt x="14272" y="1779089"/>
                  </a:lnTo>
                  <a:lnTo>
                    <a:pt x="11218" y="1781925"/>
                  </a:lnTo>
                  <a:lnTo>
                    <a:pt x="3085" y="1781925"/>
                  </a:lnTo>
                  <a:lnTo>
                    <a:pt x="0" y="1779089"/>
                  </a:lnTo>
                  <a:lnTo>
                    <a:pt x="0" y="902783"/>
                  </a:lnTo>
                  <a:lnTo>
                    <a:pt x="2761" y="858950"/>
                  </a:lnTo>
                  <a:lnTo>
                    <a:pt x="10853" y="816472"/>
                  </a:lnTo>
                  <a:lnTo>
                    <a:pt x="23985" y="775598"/>
                  </a:lnTo>
                  <a:lnTo>
                    <a:pt x="41869" y="736574"/>
                  </a:lnTo>
                  <a:lnTo>
                    <a:pt x="64213" y="699647"/>
                  </a:lnTo>
                  <a:lnTo>
                    <a:pt x="90730" y="665064"/>
                  </a:lnTo>
                  <a:lnTo>
                    <a:pt x="121128" y="633073"/>
                  </a:lnTo>
                  <a:lnTo>
                    <a:pt x="155119" y="603919"/>
                  </a:lnTo>
                  <a:lnTo>
                    <a:pt x="192413" y="577852"/>
                  </a:lnTo>
                  <a:lnTo>
                    <a:pt x="232720" y="555117"/>
                  </a:lnTo>
                  <a:lnTo>
                    <a:pt x="275750" y="535961"/>
                  </a:lnTo>
                  <a:lnTo>
                    <a:pt x="321215" y="520632"/>
                  </a:lnTo>
                  <a:lnTo>
                    <a:pt x="368824" y="509377"/>
                  </a:lnTo>
                  <a:lnTo>
                    <a:pt x="418288" y="502443"/>
                  </a:lnTo>
                  <a:lnTo>
                    <a:pt x="469316" y="500077"/>
                  </a:lnTo>
                  <a:lnTo>
                    <a:pt x="1200229" y="500077"/>
                  </a:lnTo>
                  <a:lnTo>
                    <a:pt x="1251396" y="502619"/>
                  </a:lnTo>
                  <a:lnTo>
                    <a:pt x="1300831" y="510054"/>
                  </a:lnTo>
                  <a:lnTo>
                    <a:pt x="1348203" y="522094"/>
                  </a:lnTo>
                  <a:lnTo>
                    <a:pt x="1393184" y="538453"/>
                  </a:lnTo>
                  <a:lnTo>
                    <a:pt x="1435444" y="558842"/>
                  </a:lnTo>
                  <a:lnTo>
                    <a:pt x="1474654" y="582974"/>
                  </a:lnTo>
                  <a:lnTo>
                    <a:pt x="1510485" y="610563"/>
                  </a:lnTo>
                  <a:lnTo>
                    <a:pt x="1542607" y="641319"/>
                  </a:lnTo>
                  <a:lnTo>
                    <a:pt x="1570691" y="674957"/>
                  </a:lnTo>
                  <a:lnTo>
                    <a:pt x="1594407" y="711189"/>
                  </a:lnTo>
                  <a:lnTo>
                    <a:pt x="1613426" y="749727"/>
                  </a:lnTo>
                  <a:lnTo>
                    <a:pt x="1627419" y="790284"/>
                  </a:lnTo>
                  <a:lnTo>
                    <a:pt x="1636056" y="832573"/>
                  </a:lnTo>
                  <a:lnTo>
                    <a:pt x="1639009" y="876306"/>
                  </a:lnTo>
                  <a:lnTo>
                    <a:pt x="1639009" y="3068490"/>
                  </a:lnTo>
                  <a:lnTo>
                    <a:pt x="1641869" y="3111016"/>
                  </a:lnTo>
                  <a:lnTo>
                    <a:pt x="1650236" y="3152109"/>
                  </a:lnTo>
                  <a:lnTo>
                    <a:pt x="1663790" y="3191494"/>
                  </a:lnTo>
                  <a:lnTo>
                    <a:pt x="1682209" y="3228897"/>
                  </a:lnTo>
                  <a:lnTo>
                    <a:pt x="1705174" y="3264042"/>
                  </a:lnTo>
                  <a:lnTo>
                    <a:pt x="1732364" y="3296655"/>
                  </a:lnTo>
                  <a:lnTo>
                    <a:pt x="1763458" y="3326461"/>
                  </a:lnTo>
                  <a:lnTo>
                    <a:pt x="1798136" y="3353185"/>
                  </a:lnTo>
                  <a:lnTo>
                    <a:pt x="1836077" y="3376551"/>
                  </a:lnTo>
                  <a:lnTo>
                    <a:pt x="1876961" y="3396286"/>
                  </a:lnTo>
                  <a:lnTo>
                    <a:pt x="1920468" y="3412114"/>
                  </a:lnTo>
                  <a:lnTo>
                    <a:pt x="1966276" y="3423760"/>
                  </a:lnTo>
                  <a:lnTo>
                    <a:pt x="2014065" y="3430949"/>
                  </a:lnTo>
                  <a:lnTo>
                    <a:pt x="2063516" y="3433406"/>
                  </a:lnTo>
                  <a:lnTo>
                    <a:pt x="2822941" y="3433406"/>
                  </a:lnTo>
                  <a:lnTo>
                    <a:pt x="2872391" y="3430949"/>
                  </a:lnTo>
                  <a:lnTo>
                    <a:pt x="2920181" y="3423760"/>
                  </a:lnTo>
                  <a:lnTo>
                    <a:pt x="2965989" y="3412114"/>
                  </a:lnTo>
                  <a:lnTo>
                    <a:pt x="3009495" y="3396286"/>
                  </a:lnTo>
                  <a:lnTo>
                    <a:pt x="3050380" y="3376551"/>
                  </a:lnTo>
                  <a:lnTo>
                    <a:pt x="3088321" y="3353185"/>
                  </a:lnTo>
                  <a:lnTo>
                    <a:pt x="3122999" y="3326461"/>
                  </a:lnTo>
                  <a:lnTo>
                    <a:pt x="3154093" y="3296655"/>
                  </a:lnTo>
                  <a:lnTo>
                    <a:pt x="3181283" y="3264042"/>
                  </a:lnTo>
                  <a:lnTo>
                    <a:pt x="3204247" y="3228897"/>
                  </a:lnTo>
                  <a:lnTo>
                    <a:pt x="3222667" y="3191494"/>
                  </a:lnTo>
                  <a:lnTo>
                    <a:pt x="3236220" y="3152109"/>
                  </a:lnTo>
                  <a:lnTo>
                    <a:pt x="3244588" y="3111016"/>
                  </a:lnTo>
                  <a:lnTo>
                    <a:pt x="3247448" y="3068490"/>
                  </a:lnTo>
                  <a:lnTo>
                    <a:pt x="3247448" y="377184"/>
                  </a:lnTo>
                  <a:lnTo>
                    <a:pt x="3250400" y="333261"/>
                  </a:lnTo>
                  <a:lnTo>
                    <a:pt x="3259038" y="290809"/>
                  </a:lnTo>
                  <a:lnTo>
                    <a:pt x="3273030" y="250114"/>
                  </a:lnTo>
                  <a:lnTo>
                    <a:pt x="3292049" y="211460"/>
                  </a:lnTo>
                  <a:lnTo>
                    <a:pt x="3315765" y="175134"/>
                  </a:lnTo>
                  <a:lnTo>
                    <a:pt x="3343847" y="141421"/>
                  </a:lnTo>
                  <a:lnTo>
                    <a:pt x="3375968" y="110605"/>
                  </a:lnTo>
                  <a:lnTo>
                    <a:pt x="3411797" y="82972"/>
                  </a:lnTo>
                  <a:lnTo>
                    <a:pt x="3451004" y="58808"/>
                  </a:lnTo>
                  <a:lnTo>
                    <a:pt x="3493261" y="38398"/>
                  </a:lnTo>
                  <a:lnTo>
                    <a:pt x="3538238" y="22027"/>
                  </a:lnTo>
                  <a:lnTo>
                    <a:pt x="3585606" y="9979"/>
                  </a:lnTo>
                  <a:lnTo>
                    <a:pt x="3635035" y="2542"/>
                  </a:lnTo>
                  <a:lnTo>
                    <a:pt x="3686195" y="0"/>
                  </a:lnTo>
                  <a:lnTo>
                    <a:pt x="4451728" y="0"/>
                  </a:lnTo>
                  <a:lnTo>
                    <a:pt x="4502705" y="2542"/>
                  </a:lnTo>
                  <a:lnTo>
                    <a:pt x="4552006" y="9979"/>
                  </a:lnTo>
                  <a:lnTo>
                    <a:pt x="4599294" y="22027"/>
                  </a:lnTo>
                  <a:lnTo>
                    <a:pt x="4644233" y="38398"/>
                  </a:lnTo>
                  <a:lnTo>
                    <a:pt x="4686488" y="58808"/>
                  </a:lnTo>
                  <a:lnTo>
                    <a:pt x="4725721" y="82972"/>
                  </a:lnTo>
                  <a:lnTo>
                    <a:pt x="4761598" y="110605"/>
                  </a:lnTo>
                  <a:lnTo>
                    <a:pt x="4793782" y="141421"/>
                  </a:lnTo>
                  <a:lnTo>
                    <a:pt x="4821937" y="175134"/>
                  </a:lnTo>
                  <a:lnTo>
                    <a:pt x="4845726" y="211460"/>
                  </a:lnTo>
                  <a:lnTo>
                    <a:pt x="4864814" y="250114"/>
                  </a:lnTo>
                  <a:lnTo>
                    <a:pt x="4878864" y="290809"/>
                  </a:lnTo>
                  <a:lnTo>
                    <a:pt x="4887541" y="333261"/>
                  </a:lnTo>
                  <a:lnTo>
                    <a:pt x="4890508" y="377184"/>
                  </a:lnTo>
                  <a:lnTo>
                    <a:pt x="4890508" y="3068490"/>
                  </a:lnTo>
                  <a:lnTo>
                    <a:pt x="4893368" y="3111016"/>
                  </a:lnTo>
                  <a:lnTo>
                    <a:pt x="4901735" y="3152109"/>
                  </a:lnTo>
                  <a:lnTo>
                    <a:pt x="4915289" y="3191494"/>
                  </a:lnTo>
                  <a:lnTo>
                    <a:pt x="4933708" y="3228897"/>
                  </a:lnTo>
                  <a:lnTo>
                    <a:pt x="4956673" y="3264042"/>
                  </a:lnTo>
                  <a:lnTo>
                    <a:pt x="4983863" y="3296655"/>
                  </a:lnTo>
                  <a:lnTo>
                    <a:pt x="5014957" y="3326461"/>
                  </a:lnTo>
                  <a:lnTo>
                    <a:pt x="5049635" y="3353185"/>
                  </a:lnTo>
                  <a:lnTo>
                    <a:pt x="5087576" y="3376551"/>
                  </a:lnTo>
                  <a:lnTo>
                    <a:pt x="5128460" y="3396286"/>
                  </a:lnTo>
                  <a:lnTo>
                    <a:pt x="5171967" y="3412114"/>
                  </a:lnTo>
                  <a:lnTo>
                    <a:pt x="5217775" y="3423760"/>
                  </a:lnTo>
                  <a:lnTo>
                    <a:pt x="5265564" y="3430949"/>
                  </a:lnTo>
                  <a:lnTo>
                    <a:pt x="5315014" y="3433406"/>
                  </a:lnTo>
                  <a:lnTo>
                    <a:pt x="6090738" y="3433406"/>
                  </a:lnTo>
                  <a:lnTo>
                    <a:pt x="6140182" y="3430949"/>
                  </a:lnTo>
                  <a:lnTo>
                    <a:pt x="6187967" y="3423760"/>
                  </a:lnTo>
                  <a:lnTo>
                    <a:pt x="6233773" y="3412114"/>
                  </a:lnTo>
                  <a:lnTo>
                    <a:pt x="6277278" y="3396286"/>
                  </a:lnTo>
                  <a:lnTo>
                    <a:pt x="6318162" y="3376551"/>
                  </a:lnTo>
                  <a:lnTo>
                    <a:pt x="6356104" y="3353185"/>
                  </a:lnTo>
                  <a:lnTo>
                    <a:pt x="6390783" y="3326461"/>
                  </a:lnTo>
                  <a:lnTo>
                    <a:pt x="6421879" y="3296655"/>
                  </a:lnTo>
                  <a:lnTo>
                    <a:pt x="6449071" y="3264042"/>
                  </a:lnTo>
                  <a:lnTo>
                    <a:pt x="6472038" y="3228897"/>
                  </a:lnTo>
                  <a:lnTo>
                    <a:pt x="6490460" y="3191494"/>
                  </a:lnTo>
                  <a:lnTo>
                    <a:pt x="6504015" y="3152109"/>
                  </a:lnTo>
                  <a:lnTo>
                    <a:pt x="6512384" y="3111016"/>
                  </a:lnTo>
                  <a:lnTo>
                    <a:pt x="6515244" y="3068490"/>
                  </a:lnTo>
                  <a:lnTo>
                    <a:pt x="6515244" y="875380"/>
                  </a:lnTo>
                  <a:lnTo>
                    <a:pt x="6518211" y="831465"/>
                  </a:lnTo>
                  <a:lnTo>
                    <a:pt x="6526886" y="789047"/>
                  </a:lnTo>
                  <a:lnTo>
                    <a:pt x="6540935" y="748407"/>
                  </a:lnTo>
                  <a:lnTo>
                    <a:pt x="6560020" y="709827"/>
                  </a:lnTo>
                  <a:lnTo>
                    <a:pt x="6583806" y="673587"/>
                  </a:lnTo>
                  <a:lnTo>
                    <a:pt x="6611958" y="639969"/>
                  </a:lnTo>
                  <a:lnTo>
                    <a:pt x="6644138" y="609253"/>
                  </a:lnTo>
                  <a:lnTo>
                    <a:pt x="6680011" y="581721"/>
                  </a:lnTo>
                  <a:lnTo>
                    <a:pt x="6719242" y="557653"/>
                  </a:lnTo>
                  <a:lnTo>
                    <a:pt x="6761494" y="537331"/>
                  </a:lnTo>
                  <a:lnTo>
                    <a:pt x="6806430" y="521036"/>
                  </a:lnTo>
                  <a:lnTo>
                    <a:pt x="6853716" y="509049"/>
                  </a:lnTo>
                  <a:lnTo>
                    <a:pt x="6903016" y="501650"/>
                  </a:lnTo>
                  <a:lnTo>
                    <a:pt x="6953992" y="499121"/>
                  </a:lnTo>
                  <a:lnTo>
                    <a:pt x="7682879" y="499121"/>
                  </a:lnTo>
                  <a:lnTo>
                    <a:pt x="7733908" y="501488"/>
                  </a:lnTo>
                  <a:lnTo>
                    <a:pt x="7783371" y="508422"/>
                  </a:lnTo>
                  <a:lnTo>
                    <a:pt x="7830978" y="519677"/>
                  </a:lnTo>
                  <a:lnTo>
                    <a:pt x="7876440" y="535006"/>
                  </a:lnTo>
                  <a:lnTo>
                    <a:pt x="7919468" y="554161"/>
                  </a:lnTo>
                  <a:lnTo>
                    <a:pt x="7959772" y="576897"/>
                  </a:lnTo>
                  <a:lnTo>
                    <a:pt x="7997063" y="602964"/>
                  </a:lnTo>
                  <a:lnTo>
                    <a:pt x="8031050" y="632117"/>
                  </a:lnTo>
                  <a:lnTo>
                    <a:pt x="8061446" y="664109"/>
                  </a:lnTo>
                  <a:lnTo>
                    <a:pt x="8087959" y="698692"/>
                  </a:lnTo>
                  <a:lnTo>
                    <a:pt x="8110301" y="735619"/>
                  </a:lnTo>
                  <a:lnTo>
                    <a:pt x="8128182" y="774643"/>
                  </a:lnTo>
                  <a:lnTo>
                    <a:pt x="8141313" y="815517"/>
                  </a:lnTo>
                  <a:lnTo>
                    <a:pt x="8149403" y="857994"/>
                  </a:lnTo>
                  <a:lnTo>
                    <a:pt x="8152164" y="901828"/>
                  </a:lnTo>
                  <a:lnTo>
                    <a:pt x="8152164" y="1707240"/>
                  </a:lnTo>
                  <a:lnTo>
                    <a:pt x="8149110" y="1710076"/>
                  </a:lnTo>
                  <a:lnTo>
                    <a:pt x="8140977" y="1710076"/>
                  </a:lnTo>
                  <a:lnTo>
                    <a:pt x="8137924" y="1707240"/>
                  </a:lnTo>
                  <a:lnTo>
                    <a:pt x="8137924" y="901828"/>
                  </a:lnTo>
                  <a:lnTo>
                    <a:pt x="8134851" y="856316"/>
                  </a:lnTo>
                  <a:lnTo>
                    <a:pt x="8125861" y="812342"/>
                  </a:lnTo>
                  <a:lnTo>
                    <a:pt x="8111302" y="770199"/>
                  </a:lnTo>
                  <a:lnTo>
                    <a:pt x="8091521" y="730180"/>
                  </a:lnTo>
                  <a:lnTo>
                    <a:pt x="8066865" y="692578"/>
                  </a:lnTo>
                  <a:lnTo>
                    <a:pt x="8037681" y="657689"/>
                  </a:lnTo>
                  <a:lnTo>
                    <a:pt x="8004318" y="625805"/>
                  </a:lnTo>
                  <a:lnTo>
                    <a:pt x="7967121" y="597219"/>
                  </a:lnTo>
                  <a:lnTo>
                    <a:pt x="7926437" y="572226"/>
                  </a:lnTo>
                  <a:lnTo>
                    <a:pt x="7882615" y="551118"/>
                  </a:lnTo>
                  <a:lnTo>
                    <a:pt x="7836001" y="534191"/>
                  </a:lnTo>
                  <a:lnTo>
                    <a:pt x="7786942" y="521736"/>
                  </a:lnTo>
                  <a:lnTo>
                    <a:pt x="7735786" y="514047"/>
                  </a:lnTo>
                  <a:lnTo>
                    <a:pt x="7682879" y="511419"/>
                  </a:lnTo>
                  <a:lnTo>
                    <a:pt x="6953992" y="511419"/>
                  </a:lnTo>
                  <a:lnTo>
                    <a:pt x="6904542" y="513863"/>
                  </a:lnTo>
                  <a:lnTo>
                    <a:pt x="6856752" y="521013"/>
                  </a:lnTo>
                  <a:lnTo>
                    <a:pt x="6810944" y="532599"/>
                  </a:lnTo>
                  <a:lnTo>
                    <a:pt x="6767437" y="548350"/>
                  </a:lnTo>
                  <a:lnTo>
                    <a:pt x="6726553" y="567996"/>
                  </a:lnTo>
                  <a:lnTo>
                    <a:pt x="6688612" y="591265"/>
                  </a:lnTo>
                  <a:lnTo>
                    <a:pt x="6653934" y="617887"/>
                  </a:lnTo>
                  <a:lnTo>
                    <a:pt x="6622840" y="647591"/>
                  </a:lnTo>
                  <a:lnTo>
                    <a:pt x="6595650" y="680107"/>
                  </a:lnTo>
                  <a:lnTo>
                    <a:pt x="6572685" y="715163"/>
                  </a:lnTo>
                  <a:lnTo>
                    <a:pt x="6554266" y="752489"/>
                  </a:lnTo>
                  <a:lnTo>
                    <a:pt x="6540712" y="791815"/>
                  </a:lnTo>
                  <a:lnTo>
                    <a:pt x="6532345" y="832869"/>
                  </a:lnTo>
                  <a:lnTo>
                    <a:pt x="6529484" y="875380"/>
                  </a:lnTo>
                  <a:lnTo>
                    <a:pt x="6529484" y="3068490"/>
                  </a:lnTo>
                  <a:lnTo>
                    <a:pt x="6526723" y="3112419"/>
                  </a:lnTo>
                  <a:lnTo>
                    <a:pt x="6518222" y="3154875"/>
                  </a:lnTo>
                  <a:lnTo>
                    <a:pt x="6504320" y="3195572"/>
                  </a:lnTo>
                  <a:lnTo>
                    <a:pt x="6485357" y="3234227"/>
                  </a:lnTo>
                  <a:lnTo>
                    <a:pt x="6461669" y="3270553"/>
                  </a:lnTo>
                  <a:lnTo>
                    <a:pt x="6433596" y="3304266"/>
                  </a:lnTo>
                  <a:lnTo>
                    <a:pt x="6401475" y="3335080"/>
                  </a:lnTo>
                  <a:lnTo>
                    <a:pt x="6365646" y="3362711"/>
                  </a:lnTo>
                  <a:lnTo>
                    <a:pt x="6326446" y="3386873"/>
                  </a:lnTo>
                  <a:lnTo>
                    <a:pt x="6284215" y="3407281"/>
                  </a:lnTo>
                  <a:lnTo>
                    <a:pt x="6239289" y="3423651"/>
                  </a:lnTo>
                  <a:lnTo>
                    <a:pt x="6192008" y="3435696"/>
                  </a:lnTo>
                  <a:lnTo>
                    <a:pt x="6142710" y="3443132"/>
                  </a:lnTo>
                  <a:lnTo>
                    <a:pt x="6091734" y="3445674"/>
                  </a:lnTo>
                  <a:close/>
                </a:path>
              </a:pathLst>
            </a:custGeom>
            <a:solidFill>
              <a:srgbClr val="222831"/>
            </a:solidFill>
          </p:spPr>
          <p:txBody>
            <a:bodyPr wrap="square" lIns="0" tIns="0" rIns="0" bIns="0" rtlCol="0"/>
            <a:lstStyle/>
            <a:p>
              <a:endParaRPr/>
            </a:p>
          </p:txBody>
        </p:sp>
        <p:pic>
          <p:nvPicPr>
            <p:cNvPr id="24" name="object 24"/>
            <p:cNvPicPr/>
            <p:nvPr/>
          </p:nvPicPr>
          <p:blipFill>
            <a:blip r:embed="rId16" cstate="print"/>
            <a:stretch>
              <a:fillRect/>
            </a:stretch>
          </p:blipFill>
          <p:spPr>
            <a:xfrm>
              <a:off x="7375739" y="3889695"/>
              <a:ext cx="1002325" cy="183867"/>
            </a:xfrm>
            <a:prstGeom prst="rect">
              <a:avLst/>
            </a:prstGeom>
          </p:spPr>
        </p:pic>
      </p:grpSp>
      <p:sp>
        <p:nvSpPr>
          <p:cNvPr id="25" name="Title 1">
            <a:extLst>
              <a:ext uri="{FF2B5EF4-FFF2-40B4-BE49-F238E27FC236}">
                <a16:creationId xmlns:a16="http://schemas.microsoft.com/office/drawing/2014/main" id="{1815C26C-CB38-474B-B234-A3279EF161A6}"/>
              </a:ext>
            </a:extLst>
          </p:cNvPr>
          <p:cNvSpPr txBox="1">
            <a:spLocks/>
          </p:cNvSpPr>
          <p:nvPr/>
        </p:nvSpPr>
        <p:spPr>
          <a:xfrm>
            <a:off x="2675448" y="306022"/>
            <a:ext cx="3776895" cy="492443"/>
          </a:xfrm>
          <a:prstGeom prst="rect">
            <a:avLst/>
          </a:prstGeom>
        </p:spPr>
        <p:txBody>
          <a:bodyPr wrap="square" lIns="0" tIns="0" rIns="0" bIns="0">
            <a:spAutoFit/>
          </a:bodyPr>
          <a:lstStyle>
            <a:lvl1pPr>
              <a:defRPr sz="2800" b="1" i="0">
                <a:solidFill>
                  <a:schemeClr val="tx1"/>
                </a:solidFill>
                <a:latin typeface="Trebuchet MS"/>
                <a:ea typeface="+mj-ea"/>
                <a:cs typeface="Trebuchet MS"/>
              </a:defRPr>
            </a:lvl1pPr>
          </a:lstStyle>
          <a:p>
            <a:r>
              <a:rPr lang="en-US" sz="3200" kern="0" dirty="0"/>
              <a:t>Additional Libraries</a:t>
            </a:r>
          </a:p>
        </p:txBody>
      </p:sp>
      <p:pic>
        <p:nvPicPr>
          <p:cNvPr id="26" name="Google Shape;108;p1">
            <a:extLst>
              <a:ext uri="{FF2B5EF4-FFF2-40B4-BE49-F238E27FC236}">
                <a16:creationId xmlns:a16="http://schemas.microsoft.com/office/drawing/2014/main" id="{4C8965DE-AA30-4D19-821D-B3B762B8DB4B}"/>
              </a:ext>
            </a:extLst>
          </p:cNvPr>
          <p:cNvPicPr preferRelativeResize="0"/>
          <p:nvPr/>
        </p:nvPicPr>
        <p:blipFill rotWithShape="1">
          <a:blip r:embed="rId17">
            <a:alphaModFix/>
          </a:blip>
          <a:srcRect/>
          <a:stretch/>
        </p:blipFill>
        <p:spPr>
          <a:xfrm>
            <a:off x="8712986" y="4782288"/>
            <a:ext cx="346788" cy="335193"/>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15A30C-4CCF-4B94-BF89-9421AAF49A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81600"/>
          </a:xfrm>
          <a:prstGeom prst="rect">
            <a:avLst/>
          </a:prstGeom>
        </p:spPr>
      </p:pic>
      <p:sp>
        <p:nvSpPr>
          <p:cNvPr id="6" name="TextBox 5">
            <a:extLst>
              <a:ext uri="{FF2B5EF4-FFF2-40B4-BE49-F238E27FC236}">
                <a16:creationId xmlns:a16="http://schemas.microsoft.com/office/drawing/2014/main" id="{5B6171FB-4FAE-41E4-BC4A-F51626495D4F}"/>
              </a:ext>
            </a:extLst>
          </p:cNvPr>
          <p:cNvSpPr txBox="1"/>
          <p:nvPr/>
        </p:nvSpPr>
        <p:spPr>
          <a:xfrm>
            <a:off x="4660673" y="98165"/>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7" name="TextBox 6">
            <a:extLst>
              <a:ext uri="{FF2B5EF4-FFF2-40B4-BE49-F238E27FC236}">
                <a16:creationId xmlns:a16="http://schemas.microsoft.com/office/drawing/2014/main" id="{A5E5437A-E4B6-43F3-97D3-12FE41D137E1}"/>
              </a:ext>
            </a:extLst>
          </p:cNvPr>
          <p:cNvSpPr txBox="1"/>
          <p:nvPr/>
        </p:nvSpPr>
        <p:spPr>
          <a:xfrm>
            <a:off x="5063788" y="75082"/>
            <a:ext cx="1386918" cy="369332"/>
          </a:xfrm>
          <a:prstGeom prst="rect">
            <a:avLst/>
          </a:prstGeom>
          <a:noFill/>
        </p:spPr>
        <p:txBody>
          <a:bodyPr wrap="none" rtlCol="0">
            <a:spAutoFit/>
          </a:bodyPr>
          <a:lstStyle/>
          <a:p>
            <a:r>
              <a:rPr lang="en-US" dirty="0">
                <a:latin typeface="Bell MT" panose="02020503060305020303" pitchFamily="18" charset="0"/>
              </a:rPr>
              <a:t>Introduction</a:t>
            </a:r>
          </a:p>
        </p:txBody>
      </p:sp>
      <p:sp>
        <p:nvSpPr>
          <p:cNvPr id="8" name="TextBox 7">
            <a:extLst>
              <a:ext uri="{FF2B5EF4-FFF2-40B4-BE49-F238E27FC236}">
                <a16:creationId xmlns:a16="http://schemas.microsoft.com/office/drawing/2014/main" id="{8FB57FCE-82B3-401B-931F-9B17F96E6F82}"/>
              </a:ext>
            </a:extLst>
          </p:cNvPr>
          <p:cNvSpPr txBox="1"/>
          <p:nvPr/>
        </p:nvSpPr>
        <p:spPr>
          <a:xfrm>
            <a:off x="4584205" y="514082"/>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9" name="TextBox 8">
            <a:extLst>
              <a:ext uri="{FF2B5EF4-FFF2-40B4-BE49-F238E27FC236}">
                <a16:creationId xmlns:a16="http://schemas.microsoft.com/office/drawing/2014/main" id="{486473DB-E93F-462D-ADF3-2DFDA1EFFDCF}"/>
              </a:ext>
            </a:extLst>
          </p:cNvPr>
          <p:cNvSpPr txBox="1"/>
          <p:nvPr/>
        </p:nvSpPr>
        <p:spPr>
          <a:xfrm>
            <a:off x="5033490" y="482135"/>
            <a:ext cx="2176365" cy="369332"/>
          </a:xfrm>
          <a:prstGeom prst="rect">
            <a:avLst/>
          </a:prstGeom>
          <a:noFill/>
        </p:spPr>
        <p:txBody>
          <a:bodyPr wrap="none" rtlCol="0">
            <a:spAutoFit/>
          </a:bodyPr>
          <a:lstStyle/>
          <a:p>
            <a:r>
              <a:rPr lang="en-US" dirty="0">
                <a:latin typeface="Bell MT" panose="02020503060305020303" pitchFamily="18" charset="0"/>
              </a:rPr>
              <a:t>Review of Literature</a:t>
            </a:r>
          </a:p>
        </p:txBody>
      </p:sp>
      <p:sp>
        <p:nvSpPr>
          <p:cNvPr id="10" name="TextBox 9">
            <a:extLst>
              <a:ext uri="{FF2B5EF4-FFF2-40B4-BE49-F238E27FC236}">
                <a16:creationId xmlns:a16="http://schemas.microsoft.com/office/drawing/2014/main" id="{487771AD-CCF8-46EF-BAE2-97A07F48E93B}"/>
              </a:ext>
            </a:extLst>
          </p:cNvPr>
          <p:cNvSpPr txBox="1"/>
          <p:nvPr/>
        </p:nvSpPr>
        <p:spPr>
          <a:xfrm>
            <a:off x="4548957" y="951818"/>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11" name="TextBox 10">
            <a:extLst>
              <a:ext uri="{FF2B5EF4-FFF2-40B4-BE49-F238E27FC236}">
                <a16:creationId xmlns:a16="http://schemas.microsoft.com/office/drawing/2014/main" id="{82D66262-C0B9-4DDE-A66A-6B43EF7E34FB}"/>
              </a:ext>
            </a:extLst>
          </p:cNvPr>
          <p:cNvSpPr txBox="1"/>
          <p:nvPr/>
        </p:nvSpPr>
        <p:spPr>
          <a:xfrm>
            <a:off x="5030313" y="929999"/>
            <a:ext cx="4016677" cy="369332"/>
          </a:xfrm>
          <a:prstGeom prst="rect">
            <a:avLst/>
          </a:prstGeom>
          <a:noFill/>
        </p:spPr>
        <p:txBody>
          <a:bodyPr wrap="none" rtlCol="0">
            <a:spAutoFit/>
          </a:bodyPr>
          <a:lstStyle/>
          <a:p>
            <a:r>
              <a:rPr lang="en-US" dirty="0">
                <a:latin typeface="Bell MT" panose="02020503060305020303" pitchFamily="18" charset="0"/>
              </a:rPr>
              <a:t>Problem Definition &amp; Proposed Solution</a:t>
            </a:r>
          </a:p>
        </p:txBody>
      </p:sp>
      <p:sp>
        <p:nvSpPr>
          <p:cNvPr id="12" name="TextBox 11">
            <a:extLst>
              <a:ext uri="{FF2B5EF4-FFF2-40B4-BE49-F238E27FC236}">
                <a16:creationId xmlns:a16="http://schemas.microsoft.com/office/drawing/2014/main" id="{A29D93A2-C591-4962-BE07-6DC803D174C3}"/>
              </a:ext>
            </a:extLst>
          </p:cNvPr>
          <p:cNvSpPr txBox="1"/>
          <p:nvPr/>
        </p:nvSpPr>
        <p:spPr>
          <a:xfrm>
            <a:off x="4584205" y="1359698"/>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13" name="TextBox 12">
            <a:extLst>
              <a:ext uri="{FF2B5EF4-FFF2-40B4-BE49-F238E27FC236}">
                <a16:creationId xmlns:a16="http://schemas.microsoft.com/office/drawing/2014/main" id="{4CE6755A-6CAB-4BCB-AE84-127BDF4D74D7}"/>
              </a:ext>
            </a:extLst>
          </p:cNvPr>
          <p:cNvSpPr txBox="1"/>
          <p:nvPr/>
        </p:nvSpPr>
        <p:spPr>
          <a:xfrm>
            <a:off x="5047787" y="1336615"/>
            <a:ext cx="1762919" cy="369332"/>
          </a:xfrm>
          <a:prstGeom prst="rect">
            <a:avLst/>
          </a:prstGeom>
          <a:noFill/>
        </p:spPr>
        <p:txBody>
          <a:bodyPr wrap="none" rtlCol="0">
            <a:spAutoFit/>
          </a:bodyPr>
          <a:lstStyle/>
          <a:p>
            <a:r>
              <a:rPr lang="en-US" dirty="0">
                <a:latin typeface="Bell MT" panose="02020503060305020303" pitchFamily="18" charset="0"/>
              </a:rPr>
              <a:t>Scope of Project</a:t>
            </a:r>
          </a:p>
        </p:txBody>
      </p:sp>
      <p:sp>
        <p:nvSpPr>
          <p:cNvPr id="14" name="TextBox 13">
            <a:extLst>
              <a:ext uri="{FF2B5EF4-FFF2-40B4-BE49-F238E27FC236}">
                <a16:creationId xmlns:a16="http://schemas.microsoft.com/office/drawing/2014/main" id="{1DE612F1-1B3F-4AC9-88D6-ECB0A9F7CBF0}"/>
              </a:ext>
            </a:extLst>
          </p:cNvPr>
          <p:cNvSpPr txBox="1"/>
          <p:nvPr/>
        </p:nvSpPr>
        <p:spPr>
          <a:xfrm>
            <a:off x="4649454" y="1725181"/>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15" name="TextBox 14">
            <a:extLst>
              <a:ext uri="{FF2B5EF4-FFF2-40B4-BE49-F238E27FC236}">
                <a16:creationId xmlns:a16="http://schemas.microsoft.com/office/drawing/2014/main" id="{F43A65A3-E4DD-43BA-92C7-31D1A87879EA}"/>
              </a:ext>
            </a:extLst>
          </p:cNvPr>
          <p:cNvSpPr txBox="1"/>
          <p:nvPr/>
        </p:nvSpPr>
        <p:spPr>
          <a:xfrm>
            <a:off x="5086266" y="1698425"/>
            <a:ext cx="2034531" cy="369332"/>
          </a:xfrm>
          <a:prstGeom prst="rect">
            <a:avLst/>
          </a:prstGeom>
          <a:noFill/>
        </p:spPr>
        <p:txBody>
          <a:bodyPr wrap="none" rtlCol="0">
            <a:spAutoFit/>
          </a:bodyPr>
          <a:lstStyle/>
          <a:p>
            <a:r>
              <a:rPr lang="en-US" dirty="0">
                <a:latin typeface="Bell MT" panose="02020503060305020303" pitchFamily="18" charset="0"/>
              </a:rPr>
              <a:t>System Description</a:t>
            </a:r>
          </a:p>
        </p:txBody>
      </p:sp>
      <p:sp>
        <p:nvSpPr>
          <p:cNvPr id="16" name="TextBox 15">
            <a:extLst>
              <a:ext uri="{FF2B5EF4-FFF2-40B4-BE49-F238E27FC236}">
                <a16:creationId xmlns:a16="http://schemas.microsoft.com/office/drawing/2014/main" id="{CB4F4389-A1C8-4E47-A3CD-3956F60ED102}"/>
              </a:ext>
            </a:extLst>
          </p:cNvPr>
          <p:cNvSpPr txBox="1"/>
          <p:nvPr/>
        </p:nvSpPr>
        <p:spPr>
          <a:xfrm>
            <a:off x="4777905" y="2172379"/>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17" name="TextBox 16">
            <a:extLst>
              <a:ext uri="{FF2B5EF4-FFF2-40B4-BE49-F238E27FC236}">
                <a16:creationId xmlns:a16="http://schemas.microsoft.com/office/drawing/2014/main" id="{C426D67F-3122-4748-8889-51A318283B7E}"/>
              </a:ext>
            </a:extLst>
          </p:cNvPr>
          <p:cNvSpPr txBox="1"/>
          <p:nvPr/>
        </p:nvSpPr>
        <p:spPr>
          <a:xfrm>
            <a:off x="5227747" y="2126212"/>
            <a:ext cx="3786101" cy="369332"/>
          </a:xfrm>
          <a:prstGeom prst="rect">
            <a:avLst/>
          </a:prstGeom>
          <a:noFill/>
        </p:spPr>
        <p:txBody>
          <a:bodyPr wrap="none" rtlCol="0">
            <a:spAutoFit/>
          </a:bodyPr>
          <a:lstStyle/>
          <a:p>
            <a:r>
              <a:rPr lang="en-US" dirty="0">
                <a:latin typeface="Bell MT" panose="02020503060305020303" pitchFamily="18" charset="0"/>
              </a:rPr>
              <a:t>Hardware and Software Requirements</a:t>
            </a:r>
          </a:p>
        </p:txBody>
      </p:sp>
      <p:sp>
        <p:nvSpPr>
          <p:cNvPr id="18" name="TextBox 17">
            <a:extLst>
              <a:ext uri="{FF2B5EF4-FFF2-40B4-BE49-F238E27FC236}">
                <a16:creationId xmlns:a16="http://schemas.microsoft.com/office/drawing/2014/main" id="{25D58037-68AF-484A-8F91-F60D9CDEB643}"/>
              </a:ext>
            </a:extLst>
          </p:cNvPr>
          <p:cNvSpPr txBox="1"/>
          <p:nvPr/>
        </p:nvSpPr>
        <p:spPr>
          <a:xfrm>
            <a:off x="5284717" y="2598993"/>
            <a:ext cx="3926075" cy="369332"/>
          </a:xfrm>
          <a:prstGeom prst="rect">
            <a:avLst/>
          </a:prstGeom>
          <a:noFill/>
        </p:spPr>
        <p:txBody>
          <a:bodyPr wrap="none" rtlCol="0">
            <a:spAutoFit/>
          </a:bodyPr>
          <a:lstStyle/>
          <a:p>
            <a:r>
              <a:rPr lang="en-US" dirty="0">
                <a:latin typeface="Bell MT" panose="02020503060305020303" pitchFamily="18" charset="0"/>
              </a:rPr>
              <a:t>User Interface Design (GUI Snapshots)</a:t>
            </a:r>
          </a:p>
        </p:txBody>
      </p:sp>
      <p:sp>
        <p:nvSpPr>
          <p:cNvPr id="19" name="TextBox 18">
            <a:extLst>
              <a:ext uri="{FF2B5EF4-FFF2-40B4-BE49-F238E27FC236}">
                <a16:creationId xmlns:a16="http://schemas.microsoft.com/office/drawing/2014/main" id="{937E283D-0946-4595-B41A-50416DB09C22}"/>
              </a:ext>
            </a:extLst>
          </p:cNvPr>
          <p:cNvSpPr txBox="1"/>
          <p:nvPr/>
        </p:nvSpPr>
        <p:spPr>
          <a:xfrm>
            <a:off x="5914950" y="3425758"/>
            <a:ext cx="1237839" cy="369332"/>
          </a:xfrm>
          <a:prstGeom prst="rect">
            <a:avLst/>
          </a:prstGeom>
          <a:noFill/>
        </p:spPr>
        <p:txBody>
          <a:bodyPr wrap="none" rtlCol="0">
            <a:spAutoFit/>
          </a:bodyPr>
          <a:lstStyle/>
          <a:p>
            <a:r>
              <a:rPr lang="en-US" dirty="0">
                <a:latin typeface="Bell MT" panose="02020503060305020303" pitchFamily="18" charset="0"/>
              </a:rPr>
              <a:t>Conclusion</a:t>
            </a:r>
          </a:p>
        </p:txBody>
      </p:sp>
      <p:sp>
        <p:nvSpPr>
          <p:cNvPr id="20" name="TextBox 19">
            <a:extLst>
              <a:ext uri="{FF2B5EF4-FFF2-40B4-BE49-F238E27FC236}">
                <a16:creationId xmlns:a16="http://schemas.microsoft.com/office/drawing/2014/main" id="{4B31C2EA-4D6C-4F54-8800-63477B28D47A}"/>
              </a:ext>
            </a:extLst>
          </p:cNvPr>
          <p:cNvSpPr txBox="1"/>
          <p:nvPr/>
        </p:nvSpPr>
        <p:spPr>
          <a:xfrm>
            <a:off x="5681841" y="3023653"/>
            <a:ext cx="879664" cy="369332"/>
          </a:xfrm>
          <a:prstGeom prst="rect">
            <a:avLst/>
          </a:prstGeom>
          <a:noFill/>
        </p:spPr>
        <p:txBody>
          <a:bodyPr wrap="none" rtlCol="0">
            <a:spAutoFit/>
          </a:bodyPr>
          <a:lstStyle/>
          <a:p>
            <a:r>
              <a:rPr lang="en-US" dirty="0">
                <a:latin typeface="Bell MT" panose="02020503060305020303" pitchFamily="18" charset="0"/>
              </a:rPr>
              <a:t>Results</a:t>
            </a:r>
          </a:p>
        </p:txBody>
      </p:sp>
      <p:sp>
        <p:nvSpPr>
          <p:cNvPr id="21" name="TextBox 20">
            <a:extLst>
              <a:ext uri="{FF2B5EF4-FFF2-40B4-BE49-F238E27FC236}">
                <a16:creationId xmlns:a16="http://schemas.microsoft.com/office/drawing/2014/main" id="{33DEAF4B-052E-4D19-AD0B-9C51B305473B}"/>
              </a:ext>
            </a:extLst>
          </p:cNvPr>
          <p:cNvSpPr txBox="1"/>
          <p:nvPr/>
        </p:nvSpPr>
        <p:spPr>
          <a:xfrm>
            <a:off x="6297848" y="3908946"/>
            <a:ext cx="1706173" cy="369332"/>
          </a:xfrm>
          <a:prstGeom prst="rect">
            <a:avLst/>
          </a:prstGeom>
          <a:noFill/>
        </p:spPr>
        <p:txBody>
          <a:bodyPr wrap="none" rtlCol="0">
            <a:spAutoFit/>
          </a:bodyPr>
          <a:lstStyle/>
          <a:p>
            <a:r>
              <a:rPr lang="en-US" dirty="0">
                <a:latin typeface="Bell MT" panose="02020503060305020303" pitchFamily="18" charset="0"/>
              </a:rPr>
              <a:t>Literature Cited</a:t>
            </a:r>
          </a:p>
        </p:txBody>
      </p:sp>
      <p:sp>
        <p:nvSpPr>
          <p:cNvPr id="22" name="TextBox 21">
            <a:extLst>
              <a:ext uri="{FF2B5EF4-FFF2-40B4-BE49-F238E27FC236}">
                <a16:creationId xmlns:a16="http://schemas.microsoft.com/office/drawing/2014/main" id="{15E69A36-1447-46A6-97B7-621CDA5602D3}"/>
              </a:ext>
            </a:extLst>
          </p:cNvPr>
          <p:cNvSpPr txBox="1"/>
          <p:nvPr/>
        </p:nvSpPr>
        <p:spPr>
          <a:xfrm>
            <a:off x="6756445" y="4339487"/>
            <a:ext cx="1946559" cy="369332"/>
          </a:xfrm>
          <a:prstGeom prst="rect">
            <a:avLst/>
          </a:prstGeom>
          <a:noFill/>
        </p:spPr>
        <p:txBody>
          <a:bodyPr wrap="none" rtlCol="0">
            <a:spAutoFit/>
          </a:bodyPr>
          <a:lstStyle/>
          <a:p>
            <a:r>
              <a:rPr lang="en-US" dirty="0">
                <a:latin typeface="Bell MT" panose="02020503060305020303" pitchFamily="18" charset="0"/>
              </a:rPr>
              <a:t>Acknowledgement</a:t>
            </a:r>
          </a:p>
        </p:txBody>
      </p:sp>
      <p:sp>
        <p:nvSpPr>
          <p:cNvPr id="24" name="TextBox 23">
            <a:extLst>
              <a:ext uri="{FF2B5EF4-FFF2-40B4-BE49-F238E27FC236}">
                <a16:creationId xmlns:a16="http://schemas.microsoft.com/office/drawing/2014/main" id="{BA0289FE-1060-4D58-98CF-A2227ED41EED}"/>
              </a:ext>
            </a:extLst>
          </p:cNvPr>
          <p:cNvSpPr txBox="1"/>
          <p:nvPr/>
        </p:nvSpPr>
        <p:spPr>
          <a:xfrm>
            <a:off x="4966953" y="2620954"/>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25" name="TextBox 24">
            <a:extLst>
              <a:ext uri="{FF2B5EF4-FFF2-40B4-BE49-F238E27FC236}">
                <a16:creationId xmlns:a16="http://schemas.microsoft.com/office/drawing/2014/main" id="{0939FA73-B0D4-4DFE-A54B-0FB186528ADB}"/>
              </a:ext>
            </a:extLst>
          </p:cNvPr>
          <p:cNvSpPr txBox="1"/>
          <p:nvPr/>
        </p:nvSpPr>
        <p:spPr>
          <a:xfrm>
            <a:off x="5229424" y="3046736"/>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26" name="TextBox 25">
            <a:extLst>
              <a:ext uri="{FF2B5EF4-FFF2-40B4-BE49-F238E27FC236}">
                <a16:creationId xmlns:a16="http://schemas.microsoft.com/office/drawing/2014/main" id="{C213CB79-890C-431E-94A2-A7ACAD9784C4}"/>
              </a:ext>
            </a:extLst>
          </p:cNvPr>
          <p:cNvSpPr txBox="1"/>
          <p:nvPr/>
        </p:nvSpPr>
        <p:spPr>
          <a:xfrm>
            <a:off x="5486891" y="3462134"/>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27" name="TextBox 26">
            <a:extLst>
              <a:ext uri="{FF2B5EF4-FFF2-40B4-BE49-F238E27FC236}">
                <a16:creationId xmlns:a16="http://schemas.microsoft.com/office/drawing/2014/main" id="{3056DBB0-501A-41BE-A3CD-F53445846FFF}"/>
              </a:ext>
            </a:extLst>
          </p:cNvPr>
          <p:cNvSpPr txBox="1"/>
          <p:nvPr/>
        </p:nvSpPr>
        <p:spPr>
          <a:xfrm>
            <a:off x="5914950" y="3932029"/>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
        <p:nvSpPr>
          <p:cNvPr id="28" name="TextBox 27">
            <a:extLst>
              <a:ext uri="{FF2B5EF4-FFF2-40B4-BE49-F238E27FC236}">
                <a16:creationId xmlns:a16="http://schemas.microsoft.com/office/drawing/2014/main" id="{8944CF16-1437-4DE0-A172-361872B8CA14}"/>
              </a:ext>
            </a:extLst>
          </p:cNvPr>
          <p:cNvSpPr txBox="1"/>
          <p:nvPr/>
        </p:nvSpPr>
        <p:spPr>
          <a:xfrm>
            <a:off x="6372425" y="4356689"/>
            <a:ext cx="502061" cy="323165"/>
          </a:xfrm>
          <a:prstGeom prst="rect">
            <a:avLst/>
          </a:prstGeom>
          <a:noFill/>
        </p:spPr>
        <p:txBody>
          <a:bodyPr wrap="square" rtlCol="0">
            <a:spAutoFit/>
          </a:bodyPr>
          <a:lstStyle/>
          <a:p>
            <a:r>
              <a:rPr lang="en-US" sz="1500" dirty="0">
                <a:latin typeface="Gill Sans Ultra Bold" panose="020B0A02020104020203" pitchFamily="34" charset="0"/>
              </a:rPr>
              <a:t>🤬</a:t>
            </a:r>
          </a:p>
        </p:txBody>
      </p:sp>
    </p:spTree>
    <p:extLst>
      <p:ext uri="{BB962C8B-B14F-4D97-AF65-F5344CB8AC3E}">
        <p14:creationId xmlns:p14="http://schemas.microsoft.com/office/powerpoint/2010/main" val="21225603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3DB34DF-5ADA-4780-995C-6A1C2EDC81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1910" y="479933"/>
            <a:ext cx="2427732" cy="4315968"/>
          </a:xfrm>
          <a:prstGeom prst="rect">
            <a:avLst/>
          </a:prstGeom>
        </p:spPr>
      </p:pic>
      <p:pic>
        <p:nvPicPr>
          <p:cNvPr id="15" name="Picture 14">
            <a:extLst>
              <a:ext uri="{FF2B5EF4-FFF2-40B4-BE49-F238E27FC236}">
                <a16:creationId xmlns:a16="http://schemas.microsoft.com/office/drawing/2014/main" id="{CFC80453-DB01-498C-8B46-9594DCD2ADA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1910" y="479933"/>
            <a:ext cx="2427733" cy="4315968"/>
          </a:xfrm>
          <a:prstGeom prst="rect">
            <a:avLst/>
          </a:prstGeom>
        </p:spPr>
      </p:pic>
      <p:sp>
        <p:nvSpPr>
          <p:cNvPr id="12"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881900-9FEF-48DD-861A-7E22B2537BF6}"/>
              </a:ext>
            </a:extLst>
          </p:cNvPr>
          <p:cNvSpPr>
            <a:spLocks noGrp="1"/>
          </p:cNvSpPr>
          <p:nvPr>
            <p:ph type="title"/>
          </p:nvPr>
        </p:nvSpPr>
        <p:spPr>
          <a:xfrm>
            <a:off x="688212" y="1472129"/>
            <a:ext cx="1971675" cy="1910443"/>
          </a:xfrm>
          <a:noFill/>
        </p:spPr>
        <p:txBody>
          <a:bodyPr vert="horz" lIns="91440" tIns="45720" rIns="91440" bIns="45720" rtlCol="0" anchor="ctr">
            <a:normAutofit/>
          </a:bodyPr>
          <a:lstStyle/>
          <a:p>
            <a:pPr algn="l" rtl="0">
              <a:lnSpc>
                <a:spcPct val="90000"/>
              </a:lnSpc>
              <a:spcBef>
                <a:spcPct val="0"/>
              </a:spcBef>
            </a:pPr>
            <a:r>
              <a:rPr lang="en-US" sz="3200" kern="1200" dirty="0">
                <a:solidFill>
                  <a:srgbClr val="FFFFFF"/>
                </a:solidFill>
                <a:latin typeface="+mj-lt"/>
                <a:ea typeface="+mj-ea"/>
                <a:cs typeface="+mj-cs"/>
              </a:rPr>
              <a:t>User Interface Design</a:t>
            </a:r>
          </a:p>
        </p:txBody>
      </p:sp>
      <p:pic>
        <p:nvPicPr>
          <p:cNvPr id="13" name="Picture 12">
            <a:extLst>
              <a:ext uri="{FF2B5EF4-FFF2-40B4-BE49-F238E27FC236}">
                <a16:creationId xmlns:a16="http://schemas.microsoft.com/office/drawing/2014/main" id="{1374EF4F-B341-40A9-9792-D38BFB25D1C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1909" y="479933"/>
            <a:ext cx="2427733" cy="4315968"/>
          </a:xfrm>
          <a:prstGeom prst="rect">
            <a:avLst/>
          </a:prstGeom>
        </p:spPr>
      </p:pic>
      <p:pic>
        <p:nvPicPr>
          <p:cNvPr id="19" name="Picture 18">
            <a:extLst>
              <a:ext uri="{FF2B5EF4-FFF2-40B4-BE49-F238E27FC236}">
                <a16:creationId xmlns:a16="http://schemas.microsoft.com/office/drawing/2014/main" id="{8EFAF2D4-BC97-4675-AF83-29EF51879C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41910" y="479933"/>
            <a:ext cx="2427732" cy="4315968"/>
          </a:xfrm>
          <a:prstGeom prst="rect">
            <a:avLst/>
          </a:prstGeom>
        </p:spPr>
      </p:pic>
      <p:pic>
        <p:nvPicPr>
          <p:cNvPr id="21" name="Picture 20">
            <a:extLst>
              <a:ext uri="{FF2B5EF4-FFF2-40B4-BE49-F238E27FC236}">
                <a16:creationId xmlns:a16="http://schemas.microsoft.com/office/drawing/2014/main" id="{03DCE1E4-F7C9-4C02-BE53-55469F06B1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41910" y="479933"/>
            <a:ext cx="2427732" cy="4315968"/>
          </a:xfrm>
          <a:prstGeom prst="rect">
            <a:avLst/>
          </a:prstGeom>
        </p:spPr>
      </p:pic>
      <p:pic>
        <p:nvPicPr>
          <p:cNvPr id="9" name="Picture 8">
            <a:extLst>
              <a:ext uri="{FF2B5EF4-FFF2-40B4-BE49-F238E27FC236}">
                <a16:creationId xmlns:a16="http://schemas.microsoft.com/office/drawing/2014/main" id="{98E324AE-B53B-4813-9583-121AE7FD66E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37338" y="479933"/>
            <a:ext cx="2432304" cy="4324095"/>
          </a:xfrm>
          <a:prstGeom prst="rect">
            <a:avLst/>
          </a:prstGeom>
        </p:spPr>
      </p:pic>
      <p:sp>
        <p:nvSpPr>
          <p:cNvPr id="33" name="Rectangle 32">
            <a:extLst>
              <a:ext uri="{FF2B5EF4-FFF2-40B4-BE49-F238E27FC236}">
                <a16:creationId xmlns:a16="http://schemas.microsoft.com/office/drawing/2014/main" id="{D869C640-0739-4BF7-A067-75F051E89B89}"/>
              </a:ext>
            </a:extLst>
          </p:cNvPr>
          <p:cNvSpPr/>
          <p:nvPr/>
        </p:nvSpPr>
        <p:spPr>
          <a:xfrm>
            <a:off x="3346969" y="2049669"/>
            <a:ext cx="2505792"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11 Chat Screen</a:t>
            </a:r>
          </a:p>
        </p:txBody>
      </p:sp>
      <p:sp>
        <p:nvSpPr>
          <p:cNvPr id="32" name="Rectangle 31">
            <a:extLst>
              <a:ext uri="{FF2B5EF4-FFF2-40B4-BE49-F238E27FC236}">
                <a16:creationId xmlns:a16="http://schemas.microsoft.com/office/drawing/2014/main" id="{585FD5C3-8C2D-4638-BF63-3CE0C935FCD1}"/>
              </a:ext>
            </a:extLst>
          </p:cNvPr>
          <p:cNvSpPr/>
          <p:nvPr/>
        </p:nvSpPr>
        <p:spPr>
          <a:xfrm>
            <a:off x="3397039" y="2049669"/>
            <a:ext cx="2392594"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10 User Profile</a:t>
            </a:r>
          </a:p>
        </p:txBody>
      </p:sp>
      <p:sp>
        <p:nvSpPr>
          <p:cNvPr id="31" name="Rectangle 30">
            <a:extLst>
              <a:ext uri="{FF2B5EF4-FFF2-40B4-BE49-F238E27FC236}">
                <a16:creationId xmlns:a16="http://schemas.microsoft.com/office/drawing/2014/main" id="{373AE80E-933C-45BF-9774-7DF723137FD7}"/>
              </a:ext>
            </a:extLst>
          </p:cNvPr>
          <p:cNvSpPr/>
          <p:nvPr/>
        </p:nvSpPr>
        <p:spPr>
          <a:xfrm>
            <a:off x="3346968" y="2049669"/>
            <a:ext cx="2392594"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9 Chats</a:t>
            </a:r>
          </a:p>
        </p:txBody>
      </p:sp>
      <p:sp>
        <p:nvSpPr>
          <p:cNvPr id="30" name="Rectangle 29">
            <a:extLst>
              <a:ext uri="{FF2B5EF4-FFF2-40B4-BE49-F238E27FC236}">
                <a16:creationId xmlns:a16="http://schemas.microsoft.com/office/drawing/2014/main" id="{B831713C-4446-49BD-9413-C80F50594C77}"/>
              </a:ext>
            </a:extLst>
          </p:cNvPr>
          <p:cNvSpPr/>
          <p:nvPr/>
        </p:nvSpPr>
        <p:spPr>
          <a:xfrm>
            <a:off x="3462484" y="2052987"/>
            <a:ext cx="2392594"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8 Sign In Screen</a:t>
            </a:r>
          </a:p>
        </p:txBody>
      </p:sp>
      <p:sp>
        <p:nvSpPr>
          <p:cNvPr id="29" name="Rectangle 28">
            <a:extLst>
              <a:ext uri="{FF2B5EF4-FFF2-40B4-BE49-F238E27FC236}">
                <a16:creationId xmlns:a16="http://schemas.microsoft.com/office/drawing/2014/main" id="{DDB7C4CD-43D7-4652-B4B3-FA6D06E0F465}"/>
              </a:ext>
            </a:extLst>
          </p:cNvPr>
          <p:cNvSpPr/>
          <p:nvPr/>
        </p:nvSpPr>
        <p:spPr>
          <a:xfrm>
            <a:off x="3394722" y="2046351"/>
            <a:ext cx="2392594"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7 Sign Up Screen</a:t>
            </a:r>
          </a:p>
        </p:txBody>
      </p:sp>
      <p:sp>
        <p:nvSpPr>
          <p:cNvPr id="28" name="Rectangle 27">
            <a:extLst>
              <a:ext uri="{FF2B5EF4-FFF2-40B4-BE49-F238E27FC236}">
                <a16:creationId xmlns:a16="http://schemas.microsoft.com/office/drawing/2014/main" id="{415108B2-BDAA-4783-B2A9-EA2263DEA86C}"/>
              </a:ext>
            </a:extLst>
          </p:cNvPr>
          <p:cNvSpPr/>
          <p:nvPr/>
        </p:nvSpPr>
        <p:spPr>
          <a:xfrm>
            <a:off x="3437809" y="2054719"/>
            <a:ext cx="2222290"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6 Splash Screen</a:t>
            </a:r>
          </a:p>
        </p:txBody>
      </p:sp>
      <p:pic>
        <p:nvPicPr>
          <p:cNvPr id="16" name="Google Shape;108;p1">
            <a:extLst>
              <a:ext uri="{FF2B5EF4-FFF2-40B4-BE49-F238E27FC236}">
                <a16:creationId xmlns:a16="http://schemas.microsoft.com/office/drawing/2014/main" id="{966CDB00-7706-49F8-80C6-022DFC3C7D38}"/>
              </a:ext>
            </a:extLst>
          </p:cNvPr>
          <p:cNvPicPr preferRelativeResize="0"/>
          <p:nvPr/>
        </p:nvPicPr>
        <p:blipFill rotWithShape="1">
          <a:blip r:embed="rId9">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1437919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8"/>
                                        </p:tgtEl>
                                      </p:cBhvr>
                                    </p:animEffect>
                                    <p:set>
                                      <p:cBhvr>
                                        <p:cTn id="10" dur="1" fill="hold">
                                          <p:stCondLst>
                                            <p:cond delay="499"/>
                                          </p:stCondLst>
                                        </p:cTn>
                                        <p:tgtEl>
                                          <p:spTgt spid="2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21"/>
                                        </p:tgtEl>
                                      </p:cBhvr>
                                    </p:animEffect>
                                    <p:set>
                                      <p:cBhvr>
                                        <p:cTn id="15" dur="1" fill="hold">
                                          <p:stCondLst>
                                            <p:cond delay="499"/>
                                          </p:stCondLst>
                                        </p:cTn>
                                        <p:tgtEl>
                                          <p:spTgt spid="2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29"/>
                                        </p:tgtEl>
                                      </p:cBhvr>
                                    </p:animEffect>
                                    <p:set>
                                      <p:cBhvr>
                                        <p:cTn id="18" dur="1" fill="hold">
                                          <p:stCondLst>
                                            <p:cond delay="499"/>
                                          </p:stCondLst>
                                        </p:cTn>
                                        <p:tgtEl>
                                          <p:spTgt spid="2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9"/>
                                        </p:tgtEl>
                                      </p:cBhvr>
                                    </p:animEffect>
                                    <p:set>
                                      <p:cBhvr>
                                        <p:cTn id="23" dur="1" fill="hold">
                                          <p:stCondLst>
                                            <p:cond delay="499"/>
                                          </p:stCondLst>
                                        </p:cTn>
                                        <p:tgtEl>
                                          <p:spTgt spid="19"/>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500"/>
                                        <p:tgtEl>
                                          <p:spTgt spid="30"/>
                                        </p:tgtEl>
                                      </p:cBhvr>
                                    </p:animEffect>
                                    <p:set>
                                      <p:cBhvr>
                                        <p:cTn id="26" dur="1" fill="hold">
                                          <p:stCondLst>
                                            <p:cond delay="499"/>
                                          </p:stCondLst>
                                        </p:cTn>
                                        <p:tgtEl>
                                          <p:spTgt spid="3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13"/>
                                        </p:tgtEl>
                                      </p:cBhvr>
                                    </p:animEffect>
                                    <p:set>
                                      <p:cBhvr>
                                        <p:cTn id="31" dur="1" fill="hold">
                                          <p:stCondLst>
                                            <p:cond delay="499"/>
                                          </p:stCondLst>
                                        </p:cTn>
                                        <p:tgtEl>
                                          <p:spTgt spid="1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31"/>
                                        </p:tgtEl>
                                      </p:cBhvr>
                                    </p:animEffect>
                                    <p:set>
                                      <p:cBhvr>
                                        <p:cTn id="34" dur="1" fill="hold">
                                          <p:stCondLst>
                                            <p:cond delay="499"/>
                                          </p:stCondLst>
                                        </p:cTn>
                                        <p:tgtEl>
                                          <p:spTgt spid="3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nodeType="clickEffect">
                                  <p:stCondLst>
                                    <p:cond delay="0"/>
                                  </p:stCondLst>
                                  <p:childTnLst>
                                    <p:animEffect transition="out" filter="fade">
                                      <p:cBhvr>
                                        <p:cTn id="38" dur="500"/>
                                        <p:tgtEl>
                                          <p:spTgt spid="15"/>
                                        </p:tgtEl>
                                      </p:cBhvr>
                                    </p:animEffect>
                                    <p:set>
                                      <p:cBhvr>
                                        <p:cTn id="39" dur="1" fill="hold">
                                          <p:stCondLst>
                                            <p:cond delay="499"/>
                                          </p:stCondLst>
                                        </p:cTn>
                                        <p:tgtEl>
                                          <p:spTgt spid="15"/>
                                        </p:tgtEl>
                                        <p:attrNameLst>
                                          <p:attrName>style.visibility</p:attrName>
                                        </p:attrNameLst>
                                      </p:cBhvr>
                                      <p:to>
                                        <p:strVal val="hidden"/>
                                      </p:to>
                                    </p:set>
                                  </p:childTnLst>
                                </p:cTn>
                              </p:par>
                              <p:par>
                                <p:cTn id="40" presetID="10" presetClass="exit" presetSubtype="0" fill="hold" grpId="0" nodeType="withEffect">
                                  <p:stCondLst>
                                    <p:cond delay="0"/>
                                  </p:stCondLst>
                                  <p:childTnLst>
                                    <p:animEffect transition="out" filter="fade">
                                      <p:cBhvr>
                                        <p:cTn id="41" dur="500"/>
                                        <p:tgtEl>
                                          <p:spTgt spid="32"/>
                                        </p:tgtEl>
                                      </p:cBhvr>
                                    </p:animEffect>
                                    <p:set>
                                      <p:cBhvr>
                                        <p:cTn id="42"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0" grpId="0" animBg="1"/>
      <p:bldP spid="29" grpId="0" animBg="1"/>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9E63FA-2D09-4F07-AF79-3CF69D2C91E0}"/>
              </a:ext>
            </a:extLst>
          </p:cNvPr>
          <p:cNvPicPr>
            <a:picLocks noChangeAspect="1"/>
          </p:cNvPicPr>
          <p:nvPr/>
        </p:nvPicPr>
        <p:blipFill>
          <a:blip r:embed="rId2"/>
          <a:stretch>
            <a:fillRect/>
          </a:stretch>
        </p:blipFill>
        <p:spPr>
          <a:xfrm>
            <a:off x="4147233" y="256808"/>
            <a:ext cx="4216114" cy="3886200"/>
          </a:xfrm>
          <a:prstGeom prst="rect">
            <a:avLst/>
          </a:prstGeom>
        </p:spPr>
      </p:pic>
      <p:sp>
        <p:nvSpPr>
          <p:cNvPr id="8" name="Down Arrow 7">
            <a:extLst>
              <a:ext uri="{FF2B5EF4-FFF2-40B4-BE49-F238E27FC236}">
                <a16:creationId xmlns:a16="http://schemas.microsoft.com/office/drawing/2014/main" id="{2392520B-C677-4060-AC90-E5AC6DBD74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600075" y="1118507"/>
            <a:ext cx="2500312" cy="2624327"/>
          </a:xfrm>
          <a:prstGeom prst="downArrow">
            <a:avLst>
              <a:gd name="adj1" fmla="val 100000"/>
              <a:gd name="adj2" fmla="val 15788"/>
            </a:avLst>
          </a:prstGeom>
          <a:solidFill>
            <a:srgbClr val="1C8DA9"/>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object 5">
            <a:extLst>
              <a:ext uri="{FF2B5EF4-FFF2-40B4-BE49-F238E27FC236}">
                <a16:creationId xmlns:a16="http://schemas.microsoft.com/office/drawing/2014/main" id="{ACE71F5E-06DF-4812-80A4-93439660E79F}"/>
              </a:ext>
            </a:extLst>
          </p:cNvPr>
          <p:cNvGrpSpPr/>
          <p:nvPr/>
        </p:nvGrpSpPr>
        <p:grpSpPr>
          <a:xfrm>
            <a:off x="457200" y="3928696"/>
            <a:ext cx="2555240" cy="788035"/>
            <a:chOff x="519518" y="952500"/>
            <a:chExt cx="2555240" cy="788035"/>
          </a:xfrm>
        </p:grpSpPr>
        <p:sp>
          <p:nvSpPr>
            <p:cNvPr id="11" name="object 6">
              <a:extLst>
                <a:ext uri="{FF2B5EF4-FFF2-40B4-BE49-F238E27FC236}">
                  <a16:creationId xmlns:a16="http://schemas.microsoft.com/office/drawing/2014/main" id="{A088343C-55E9-4FEA-8781-4D8B9CD31708}"/>
                </a:ext>
              </a:extLst>
            </p:cNvPr>
            <p:cNvSpPr/>
            <p:nvPr/>
          </p:nvSpPr>
          <p:spPr>
            <a:xfrm>
              <a:off x="519518" y="1011482"/>
              <a:ext cx="2470150" cy="729615"/>
            </a:xfrm>
            <a:custGeom>
              <a:avLst/>
              <a:gdLst/>
              <a:ahLst/>
              <a:cxnLst/>
              <a:rect l="l" t="t" r="r" b="b"/>
              <a:pathLst>
                <a:path w="2470150" h="729614">
                  <a:moveTo>
                    <a:pt x="2035832" y="729025"/>
                  </a:moveTo>
                  <a:lnTo>
                    <a:pt x="434102" y="729025"/>
                  </a:lnTo>
                  <a:lnTo>
                    <a:pt x="383521" y="726570"/>
                  </a:lnTo>
                  <a:lnTo>
                    <a:pt x="334643" y="719386"/>
                  </a:lnTo>
                  <a:lnTo>
                    <a:pt x="287794" y="707750"/>
                  </a:lnTo>
                  <a:lnTo>
                    <a:pt x="243301" y="691936"/>
                  </a:lnTo>
                  <a:lnTo>
                    <a:pt x="201493" y="672218"/>
                  </a:lnTo>
                  <a:lnTo>
                    <a:pt x="162696" y="648873"/>
                  </a:lnTo>
                  <a:lnTo>
                    <a:pt x="127237" y="622174"/>
                  </a:lnTo>
                  <a:lnTo>
                    <a:pt x="95444" y="592398"/>
                  </a:lnTo>
                  <a:lnTo>
                    <a:pt x="67644" y="559818"/>
                  </a:lnTo>
                  <a:lnTo>
                    <a:pt x="44165" y="524710"/>
                  </a:lnTo>
                  <a:lnTo>
                    <a:pt x="25334" y="487349"/>
                  </a:lnTo>
                  <a:lnTo>
                    <a:pt x="11477" y="448010"/>
                  </a:lnTo>
                  <a:lnTo>
                    <a:pt x="2923" y="406968"/>
                  </a:lnTo>
                  <a:lnTo>
                    <a:pt x="0" y="364497"/>
                  </a:lnTo>
                  <a:lnTo>
                    <a:pt x="2923" y="322027"/>
                  </a:lnTo>
                  <a:lnTo>
                    <a:pt x="11477" y="280986"/>
                  </a:lnTo>
                  <a:lnTo>
                    <a:pt x="25334" y="241649"/>
                  </a:lnTo>
                  <a:lnTo>
                    <a:pt x="44165" y="204290"/>
                  </a:lnTo>
                  <a:lnTo>
                    <a:pt x="67644" y="169185"/>
                  </a:lnTo>
                  <a:lnTo>
                    <a:pt x="95444" y="136609"/>
                  </a:lnTo>
                  <a:lnTo>
                    <a:pt x="127237" y="106835"/>
                  </a:lnTo>
                  <a:lnTo>
                    <a:pt x="162696" y="80140"/>
                  </a:lnTo>
                  <a:lnTo>
                    <a:pt x="201493" y="56798"/>
                  </a:lnTo>
                  <a:lnTo>
                    <a:pt x="243301" y="37083"/>
                  </a:lnTo>
                  <a:lnTo>
                    <a:pt x="287794" y="21271"/>
                  </a:lnTo>
                  <a:lnTo>
                    <a:pt x="334643" y="9637"/>
                  </a:lnTo>
                  <a:lnTo>
                    <a:pt x="383521" y="2455"/>
                  </a:lnTo>
                  <a:lnTo>
                    <a:pt x="434102" y="0"/>
                  </a:lnTo>
                  <a:lnTo>
                    <a:pt x="2035832" y="0"/>
                  </a:lnTo>
                  <a:lnTo>
                    <a:pt x="2086413" y="2455"/>
                  </a:lnTo>
                  <a:lnTo>
                    <a:pt x="2135291" y="9637"/>
                  </a:lnTo>
                  <a:lnTo>
                    <a:pt x="2182140" y="21271"/>
                  </a:lnTo>
                  <a:lnTo>
                    <a:pt x="2226632" y="37083"/>
                  </a:lnTo>
                  <a:lnTo>
                    <a:pt x="2268441" y="56798"/>
                  </a:lnTo>
                  <a:lnTo>
                    <a:pt x="2307238" y="80140"/>
                  </a:lnTo>
                  <a:lnTo>
                    <a:pt x="2342697" y="106835"/>
                  </a:lnTo>
                  <a:lnTo>
                    <a:pt x="2374490" y="136609"/>
                  </a:lnTo>
                  <a:lnTo>
                    <a:pt x="2402290" y="169185"/>
                  </a:lnTo>
                  <a:lnTo>
                    <a:pt x="2425769" y="204290"/>
                  </a:lnTo>
                  <a:lnTo>
                    <a:pt x="2444600" y="241649"/>
                  </a:lnTo>
                  <a:lnTo>
                    <a:pt x="2458457" y="280986"/>
                  </a:lnTo>
                  <a:lnTo>
                    <a:pt x="2467010" y="322027"/>
                  </a:lnTo>
                  <a:lnTo>
                    <a:pt x="2469934" y="364497"/>
                  </a:lnTo>
                  <a:lnTo>
                    <a:pt x="2467010" y="406968"/>
                  </a:lnTo>
                  <a:lnTo>
                    <a:pt x="2458457" y="448010"/>
                  </a:lnTo>
                  <a:lnTo>
                    <a:pt x="2444600" y="487349"/>
                  </a:lnTo>
                  <a:lnTo>
                    <a:pt x="2425769" y="524710"/>
                  </a:lnTo>
                  <a:lnTo>
                    <a:pt x="2402290" y="559818"/>
                  </a:lnTo>
                  <a:lnTo>
                    <a:pt x="2374490" y="592398"/>
                  </a:lnTo>
                  <a:lnTo>
                    <a:pt x="2342697" y="622174"/>
                  </a:lnTo>
                  <a:lnTo>
                    <a:pt x="2307238" y="648873"/>
                  </a:lnTo>
                  <a:lnTo>
                    <a:pt x="2268441" y="672218"/>
                  </a:lnTo>
                  <a:lnTo>
                    <a:pt x="2226632" y="691936"/>
                  </a:lnTo>
                  <a:lnTo>
                    <a:pt x="2182140" y="707750"/>
                  </a:lnTo>
                  <a:lnTo>
                    <a:pt x="2135291" y="719386"/>
                  </a:lnTo>
                  <a:lnTo>
                    <a:pt x="2086413" y="726570"/>
                  </a:lnTo>
                  <a:lnTo>
                    <a:pt x="2035832" y="729025"/>
                  </a:lnTo>
                  <a:close/>
                </a:path>
              </a:pathLst>
            </a:custGeom>
            <a:solidFill>
              <a:srgbClr val="7BD4E9"/>
            </a:solidFill>
          </p:spPr>
          <p:txBody>
            <a:bodyPr wrap="square" lIns="0" tIns="0" rIns="0" bIns="0" rtlCol="0"/>
            <a:lstStyle/>
            <a:p>
              <a:endParaRPr/>
            </a:p>
          </p:txBody>
        </p:sp>
        <p:sp>
          <p:nvSpPr>
            <p:cNvPr id="12" name="object 7">
              <a:extLst>
                <a:ext uri="{FF2B5EF4-FFF2-40B4-BE49-F238E27FC236}">
                  <a16:creationId xmlns:a16="http://schemas.microsoft.com/office/drawing/2014/main" id="{E371BFCF-9D48-444B-A269-5CE2A7E1D09F}"/>
                </a:ext>
              </a:extLst>
            </p:cNvPr>
            <p:cNvSpPr/>
            <p:nvPr/>
          </p:nvSpPr>
          <p:spPr>
            <a:xfrm>
              <a:off x="603576" y="952500"/>
              <a:ext cx="2471420" cy="728345"/>
            </a:xfrm>
            <a:custGeom>
              <a:avLst/>
              <a:gdLst/>
              <a:ahLst/>
              <a:cxnLst/>
              <a:rect l="l" t="t" r="r" b="b"/>
              <a:pathLst>
                <a:path w="2471420" h="728344">
                  <a:moveTo>
                    <a:pt x="2036959" y="728048"/>
                  </a:moveTo>
                  <a:lnTo>
                    <a:pt x="435265" y="728048"/>
                  </a:lnTo>
                  <a:lnTo>
                    <a:pt x="384469" y="725607"/>
                  </a:lnTo>
                  <a:lnTo>
                    <a:pt x="335435" y="718462"/>
                  </a:lnTo>
                  <a:lnTo>
                    <a:pt x="288480" y="706882"/>
                  </a:lnTo>
                  <a:lnTo>
                    <a:pt x="243923" y="691135"/>
                  </a:lnTo>
                  <a:lnTo>
                    <a:pt x="202079" y="671490"/>
                  </a:lnTo>
                  <a:lnTo>
                    <a:pt x="163268" y="648215"/>
                  </a:lnTo>
                  <a:lnTo>
                    <a:pt x="127805" y="621579"/>
                  </a:lnTo>
                  <a:lnTo>
                    <a:pt x="96009" y="591849"/>
                  </a:lnTo>
                  <a:lnTo>
                    <a:pt x="68196" y="559295"/>
                  </a:lnTo>
                  <a:lnTo>
                    <a:pt x="44685" y="524185"/>
                  </a:lnTo>
                  <a:lnTo>
                    <a:pt x="25792" y="486787"/>
                  </a:lnTo>
                  <a:lnTo>
                    <a:pt x="11836" y="447370"/>
                  </a:lnTo>
                  <a:lnTo>
                    <a:pt x="3132" y="406201"/>
                  </a:lnTo>
                  <a:lnTo>
                    <a:pt x="0" y="363551"/>
                  </a:lnTo>
                  <a:lnTo>
                    <a:pt x="2923" y="321094"/>
                  </a:lnTo>
                  <a:lnTo>
                    <a:pt x="11477" y="280092"/>
                  </a:lnTo>
                  <a:lnTo>
                    <a:pt x="25334" y="240814"/>
                  </a:lnTo>
                  <a:lnTo>
                    <a:pt x="44165" y="203531"/>
                  </a:lnTo>
                  <a:lnTo>
                    <a:pt x="67644" y="168515"/>
                  </a:lnTo>
                  <a:lnTo>
                    <a:pt x="95444" y="136035"/>
                  </a:lnTo>
                  <a:lnTo>
                    <a:pt x="127237" y="106362"/>
                  </a:lnTo>
                  <a:lnTo>
                    <a:pt x="162696" y="79768"/>
                  </a:lnTo>
                  <a:lnTo>
                    <a:pt x="201493" y="56522"/>
                  </a:lnTo>
                  <a:lnTo>
                    <a:pt x="243301" y="36896"/>
                  </a:lnTo>
                  <a:lnTo>
                    <a:pt x="287794" y="21160"/>
                  </a:lnTo>
                  <a:lnTo>
                    <a:pt x="334643" y="9584"/>
                  </a:lnTo>
                  <a:lnTo>
                    <a:pt x="383521" y="2441"/>
                  </a:lnTo>
                  <a:lnTo>
                    <a:pt x="434102" y="0"/>
                  </a:lnTo>
                  <a:lnTo>
                    <a:pt x="2036959" y="0"/>
                  </a:lnTo>
                  <a:lnTo>
                    <a:pt x="2087540" y="2441"/>
                  </a:lnTo>
                  <a:lnTo>
                    <a:pt x="2136418" y="9584"/>
                  </a:lnTo>
                  <a:lnTo>
                    <a:pt x="2183267" y="21160"/>
                  </a:lnTo>
                  <a:lnTo>
                    <a:pt x="2227760" y="36896"/>
                  </a:lnTo>
                  <a:lnTo>
                    <a:pt x="2269568" y="56522"/>
                  </a:lnTo>
                  <a:lnTo>
                    <a:pt x="2308365" y="79768"/>
                  </a:lnTo>
                  <a:lnTo>
                    <a:pt x="2343824" y="106362"/>
                  </a:lnTo>
                  <a:lnTo>
                    <a:pt x="2375617" y="136035"/>
                  </a:lnTo>
                  <a:lnTo>
                    <a:pt x="2403417" y="168515"/>
                  </a:lnTo>
                  <a:lnTo>
                    <a:pt x="2426896" y="203531"/>
                  </a:lnTo>
                  <a:lnTo>
                    <a:pt x="2445728" y="240814"/>
                  </a:lnTo>
                  <a:lnTo>
                    <a:pt x="2459584" y="280092"/>
                  </a:lnTo>
                  <a:lnTo>
                    <a:pt x="2468138" y="321094"/>
                  </a:lnTo>
                  <a:lnTo>
                    <a:pt x="2471062" y="363551"/>
                  </a:lnTo>
                  <a:lnTo>
                    <a:pt x="2468138" y="406201"/>
                  </a:lnTo>
                  <a:lnTo>
                    <a:pt x="2459584" y="447370"/>
                  </a:lnTo>
                  <a:lnTo>
                    <a:pt x="2445728" y="486787"/>
                  </a:lnTo>
                  <a:lnTo>
                    <a:pt x="2426896" y="524185"/>
                  </a:lnTo>
                  <a:lnTo>
                    <a:pt x="2403417" y="559295"/>
                  </a:lnTo>
                  <a:lnTo>
                    <a:pt x="2375617" y="591849"/>
                  </a:lnTo>
                  <a:lnTo>
                    <a:pt x="2343824" y="621579"/>
                  </a:lnTo>
                  <a:lnTo>
                    <a:pt x="2308365" y="648215"/>
                  </a:lnTo>
                  <a:lnTo>
                    <a:pt x="2269568" y="671490"/>
                  </a:lnTo>
                  <a:lnTo>
                    <a:pt x="2227760" y="691135"/>
                  </a:lnTo>
                  <a:lnTo>
                    <a:pt x="2183267" y="706882"/>
                  </a:lnTo>
                  <a:lnTo>
                    <a:pt x="2136418" y="718462"/>
                  </a:lnTo>
                  <a:lnTo>
                    <a:pt x="2087540" y="725607"/>
                  </a:lnTo>
                  <a:lnTo>
                    <a:pt x="2036959" y="728048"/>
                  </a:lnTo>
                  <a:close/>
                </a:path>
              </a:pathLst>
            </a:custGeom>
            <a:solidFill>
              <a:srgbClr val="20A3C2"/>
            </a:solidFill>
          </p:spPr>
          <p:txBody>
            <a:bodyPr wrap="square" lIns="0" tIns="0" rIns="0" bIns="0" rtlCol="0"/>
            <a:lstStyle/>
            <a:p>
              <a:endParaRPr>
                <a:solidFill>
                  <a:srgbClr val="1C8DA9"/>
                </a:solidFill>
              </a:endParaRPr>
            </a:p>
          </p:txBody>
        </p:sp>
      </p:grpSp>
      <p:sp>
        <p:nvSpPr>
          <p:cNvPr id="13" name="object 8">
            <a:extLst>
              <a:ext uri="{FF2B5EF4-FFF2-40B4-BE49-F238E27FC236}">
                <a16:creationId xmlns:a16="http://schemas.microsoft.com/office/drawing/2014/main" id="{B135637F-9873-4D2C-977E-F5B6DFE93BDD}"/>
              </a:ext>
            </a:extLst>
          </p:cNvPr>
          <p:cNvSpPr txBox="1"/>
          <p:nvPr/>
        </p:nvSpPr>
        <p:spPr>
          <a:xfrm>
            <a:off x="780653" y="4143008"/>
            <a:ext cx="1992630" cy="299720"/>
          </a:xfrm>
          <a:prstGeom prst="rect">
            <a:avLst/>
          </a:prstGeom>
        </p:spPr>
        <p:txBody>
          <a:bodyPr vert="horz" wrap="square" lIns="0" tIns="12700" rIns="0" bIns="0" rtlCol="0">
            <a:spAutoFit/>
          </a:bodyPr>
          <a:lstStyle/>
          <a:p>
            <a:pPr marL="12700">
              <a:lnSpc>
                <a:spcPct val="100000"/>
              </a:lnSpc>
              <a:spcBef>
                <a:spcPts val="100"/>
              </a:spcBef>
            </a:pPr>
            <a:r>
              <a:rPr sz="1800" b="1" spc="20" dirty="0">
                <a:solidFill>
                  <a:srgbClr val="FFFFFF"/>
                </a:solidFill>
                <a:latin typeface="Trebuchet MS"/>
                <a:cs typeface="Trebuchet MS"/>
              </a:rPr>
              <a:t>Model</a:t>
            </a:r>
            <a:r>
              <a:rPr sz="1800" b="1" spc="-120" dirty="0">
                <a:solidFill>
                  <a:srgbClr val="FFFFFF"/>
                </a:solidFill>
                <a:latin typeface="Trebuchet MS"/>
                <a:cs typeface="Trebuchet MS"/>
              </a:rPr>
              <a:t> </a:t>
            </a:r>
            <a:r>
              <a:rPr sz="1800" b="1" dirty="0">
                <a:solidFill>
                  <a:srgbClr val="FFFFFF"/>
                </a:solidFill>
                <a:latin typeface="Trebuchet MS"/>
                <a:cs typeface="Trebuchet MS"/>
              </a:rPr>
              <a:t>Dep</a:t>
            </a:r>
            <a:r>
              <a:rPr sz="1800" b="1" spc="-10" dirty="0">
                <a:solidFill>
                  <a:srgbClr val="FFFFFF"/>
                </a:solidFill>
                <a:latin typeface="Trebuchet MS"/>
                <a:cs typeface="Trebuchet MS"/>
              </a:rPr>
              <a:t>l</a:t>
            </a:r>
            <a:r>
              <a:rPr sz="1800" b="1" spc="15" dirty="0">
                <a:solidFill>
                  <a:srgbClr val="FFFFFF"/>
                </a:solidFill>
                <a:latin typeface="Trebuchet MS"/>
                <a:cs typeface="Trebuchet MS"/>
              </a:rPr>
              <a:t>o</a:t>
            </a:r>
            <a:r>
              <a:rPr sz="1800" b="1" spc="-30" dirty="0">
                <a:solidFill>
                  <a:srgbClr val="FFFFFF"/>
                </a:solidFill>
                <a:latin typeface="Trebuchet MS"/>
                <a:cs typeface="Trebuchet MS"/>
              </a:rPr>
              <a:t>yment</a:t>
            </a:r>
            <a:endParaRPr sz="1800" dirty="0">
              <a:latin typeface="Trebuchet MS"/>
              <a:cs typeface="Trebuchet MS"/>
            </a:endParaRPr>
          </a:p>
        </p:txBody>
      </p:sp>
      <p:sp>
        <p:nvSpPr>
          <p:cNvPr id="14" name="Rectangle 13">
            <a:extLst>
              <a:ext uri="{FF2B5EF4-FFF2-40B4-BE49-F238E27FC236}">
                <a16:creationId xmlns:a16="http://schemas.microsoft.com/office/drawing/2014/main" id="{2083C06A-AE93-4C3E-BF6F-56D33A85E076}"/>
              </a:ext>
            </a:extLst>
          </p:cNvPr>
          <p:cNvSpPr/>
          <p:nvPr/>
        </p:nvSpPr>
        <p:spPr>
          <a:xfrm>
            <a:off x="4800600" y="4171950"/>
            <a:ext cx="3232150"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1C8DA9"/>
                </a:solidFill>
                <a:latin typeface="Trebuchet MS" panose="020B0603020202020204" pitchFamily="34" charset="0"/>
              </a:rPr>
              <a:t>Fig. 12 Model deployment on StreamLit</a:t>
            </a:r>
          </a:p>
        </p:txBody>
      </p:sp>
      <p:pic>
        <p:nvPicPr>
          <p:cNvPr id="15" name="Google Shape;108;p1">
            <a:extLst>
              <a:ext uri="{FF2B5EF4-FFF2-40B4-BE49-F238E27FC236}">
                <a16:creationId xmlns:a16="http://schemas.microsoft.com/office/drawing/2014/main" id="{B550B0CF-1735-4DC4-BB37-23FF85AE110F}"/>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
        <p:nvSpPr>
          <p:cNvPr id="16" name="Title 1">
            <a:extLst>
              <a:ext uri="{FF2B5EF4-FFF2-40B4-BE49-F238E27FC236}">
                <a16:creationId xmlns:a16="http://schemas.microsoft.com/office/drawing/2014/main" id="{8FF6EED7-26F0-4962-AFAD-27A2CAE09744}"/>
              </a:ext>
            </a:extLst>
          </p:cNvPr>
          <p:cNvSpPr txBox="1">
            <a:spLocks/>
          </p:cNvSpPr>
          <p:nvPr/>
        </p:nvSpPr>
        <p:spPr>
          <a:xfrm>
            <a:off x="688212" y="1472129"/>
            <a:ext cx="1971675" cy="1910443"/>
          </a:xfrm>
          <a:prstGeom prst="rect">
            <a:avLst/>
          </a:prstGeom>
          <a:noFill/>
        </p:spPr>
        <p:txBody>
          <a:bodyPr vert="horz" wrap="square" lIns="91440" tIns="45720" rIns="91440" bIns="45720" rtlCol="0" anchor="ctr">
            <a:normAutofit/>
          </a:bodyPr>
          <a:lstStyle>
            <a:lvl1pPr>
              <a:defRPr sz="2800" b="1" i="0">
                <a:solidFill>
                  <a:schemeClr val="tx1"/>
                </a:solidFill>
                <a:latin typeface="Trebuchet MS"/>
                <a:ea typeface="+mj-ea"/>
                <a:cs typeface="Trebuchet MS"/>
              </a:defRPr>
            </a:lvl1pPr>
          </a:lstStyle>
          <a:p>
            <a:pPr algn="l" rtl="0">
              <a:lnSpc>
                <a:spcPct val="90000"/>
              </a:lnSpc>
              <a:spcBef>
                <a:spcPct val="0"/>
              </a:spcBef>
            </a:pPr>
            <a:r>
              <a:rPr lang="en-US" sz="3200" kern="1200">
                <a:solidFill>
                  <a:srgbClr val="FFFFFF"/>
                </a:solidFill>
                <a:latin typeface="+mj-lt"/>
                <a:cs typeface="+mj-cs"/>
              </a:rPr>
              <a:t>User Interface Design</a:t>
            </a:r>
            <a:endParaRPr lang="en-US" sz="3200" kern="1200" dirty="0">
              <a:solidFill>
                <a:srgbClr val="FFFFFF"/>
              </a:solidFill>
              <a:latin typeface="+mj-lt"/>
              <a:cs typeface="+mj-cs"/>
            </a:endParaRPr>
          </a:p>
        </p:txBody>
      </p:sp>
    </p:spTree>
    <p:extLst>
      <p:ext uri="{BB962C8B-B14F-4D97-AF65-F5344CB8AC3E}">
        <p14:creationId xmlns:p14="http://schemas.microsoft.com/office/powerpoint/2010/main" val="798099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4150360" cy="5143500"/>
          </a:xfrm>
          <a:custGeom>
            <a:avLst/>
            <a:gdLst/>
            <a:ahLst/>
            <a:cxnLst/>
            <a:rect l="l" t="t" r="r" b="b"/>
            <a:pathLst>
              <a:path w="4150360" h="5143500">
                <a:moveTo>
                  <a:pt x="0" y="0"/>
                </a:moveTo>
                <a:lnTo>
                  <a:pt x="4150149" y="0"/>
                </a:lnTo>
                <a:lnTo>
                  <a:pt x="4150149" y="5143499"/>
                </a:lnTo>
                <a:lnTo>
                  <a:pt x="0" y="5143499"/>
                </a:lnTo>
                <a:lnTo>
                  <a:pt x="0" y="0"/>
                </a:lnTo>
                <a:close/>
              </a:path>
            </a:pathLst>
          </a:custGeom>
          <a:solidFill>
            <a:srgbClr val="F4F7FA"/>
          </a:solidFill>
        </p:spPr>
        <p:txBody>
          <a:bodyPr wrap="square" lIns="0" tIns="0" rIns="0" bIns="0" rtlCol="0"/>
          <a:lstStyle/>
          <a:p>
            <a:endParaRPr dirty="0"/>
          </a:p>
        </p:txBody>
      </p:sp>
      <p:sp>
        <p:nvSpPr>
          <p:cNvPr id="3" name="object 3"/>
          <p:cNvSpPr txBox="1"/>
          <p:nvPr/>
        </p:nvSpPr>
        <p:spPr>
          <a:xfrm>
            <a:off x="1749658" y="877365"/>
            <a:ext cx="2049145" cy="254000"/>
          </a:xfrm>
          <a:prstGeom prst="rect">
            <a:avLst/>
          </a:prstGeom>
        </p:spPr>
        <p:txBody>
          <a:bodyPr vert="horz" wrap="square" lIns="0" tIns="12700" rIns="0" bIns="0" rtlCol="0">
            <a:spAutoFit/>
          </a:bodyPr>
          <a:lstStyle/>
          <a:p>
            <a:pPr marL="12700">
              <a:lnSpc>
                <a:spcPct val="100000"/>
              </a:lnSpc>
              <a:spcBef>
                <a:spcPts val="100"/>
              </a:spcBef>
            </a:pPr>
            <a:r>
              <a:rPr sz="1500" b="1" i="1" spc="-5" dirty="0">
                <a:latin typeface="Gill Sans MT"/>
                <a:cs typeface="Gill Sans MT"/>
              </a:rPr>
              <a:t>Unique</a:t>
            </a:r>
            <a:r>
              <a:rPr sz="1500" b="1" i="1" spc="-100" dirty="0">
                <a:latin typeface="Gill Sans MT"/>
                <a:cs typeface="Gill Sans MT"/>
              </a:rPr>
              <a:t> </a:t>
            </a:r>
            <a:r>
              <a:rPr sz="1500" b="1" i="1" spc="5" dirty="0">
                <a:latin typeface="Gill Sans MT"/>
                <a:cs typeface="Gill Sans MT"/>
              </a:rPr>
              <a:t>Words</a:t>
            </a:r>
            <a:r>
              <a:rPr sz="1500" b="1" i="1" spc="-95" dirty="0">
                <a:latin typeface="Gill Sans MT"/>
                <a:cs typeface="Gill Sans MT"/>
              </a:rPr>
              <a:t> </a:t>
            </a:r>
            <a:r>
              <a:rPr sz="1500" b="1" i="1" spc="20" dirty="0">
                <a:latin typeface="Gill Sans MT"/>
                <a:cs typeface="Gill Sans MT"/>
              </a:rPr>
              <a:t>per</a:t>
            </a:r>
            <a:r>
              <a:rPr sz="1500" b="1" i="1" spc="-95" dirty="0">
                <a:latin typeface="Gill Sans MT"/>
                <a:cs typeface="Gill Sans MT"/>
              </a:rPr>
              <a:t> </a:t>
            </a:r>
            <a:r>
              <a:rPr sz="1500" b="1" i="1" spc="15" dirty="0">
                <a:latin typeface="Gill Sans MT"/>
                <a:cs typeface="Gill Sans MT"/>
              </a:rPr>
              <a:t>Label</a:t>
            </a:r>
            <a:endParaRPr sz="1500" dirty="0">
              <a:latin typeface="Gill Sans MT"/>
              <a:cs typeface="Gill Sans MT"/>
            </a:endParaRPr>
          </a:p>
        </p:txBody>
      </p:sp>
      <p:pic>
        <p:nvPicPr>
          <p:cNvPr id="4" name="object 4"/>
          <p:cNvPicPr/>
          <p:nvPr/>
        </p:nvPicPr>
        <p:blipFill>
          <a:blip r:embed="rId2" cstate="print"/>
          <a:stretch>
            <a:fillRect/>
          </a:stretch>
        </p:blipFill>
        <p:spPr>
          <a:xfrm>
            <a:off x="533400" y="1110713"/>
            <a:ext cx="3911769" cy="3155422"/>
          </a:xfrm>
          <a:prstGeom prst="rect">
            <a:avLst/>
          </a:prstGeom>
        </p:spPr>
      </p:pic>
      <p:sp>
        <p:nvSpPr>
          <p:cNvPr id="5" name="object 5"/>
          <p:cNvSpPr txBox="1">
            <a:spLocks noGrp="1"/>
          </p:cNvSpPr>
          <p:nvPr>
            <p:ph type="title"/>
          </p:nvPr>
        </p:nvSpPr>
        <p:spPr>
          <a:xfrm>
            <a:off x="4173749" y="233348"/>
            <a:ext cx="1412114" cy="505267"/>
          </a:xfrm>
          <a:prstGeom prst="rect">
            <a:avLst/>
          </a:prstGeom>
        </p:spPr>
        <p:txBody>
          <a:bodyPr vert="horz" wrap="square" lIns="0" tIns="12700" rIns="0" bIns="0" rtlCol="0">
            <a:spAutoFit/>
          </a:bodyPr>
          <a:lstStyle/>
          <a:p>
            <a:pPr marL="12700">
              <a:lnSpc>
                <a:spcPct val="100000"/>
              </a:lnSpc>
              <a:spcBef>
                <a:spcPts val="100"/>
              </a:spcBef>
            </a:pPr>
            <a:r>
              <a:rPr lang="en-US" sz="3200" spc="-5" dirty="0"/>
              <a:t>Results</a:t>
            </a:r>
            <a:endParaRPr sz="3200" dirty="0"/>
          </a:p>
        </p:txBody>
      </p:sp>
      <p:sp>
        <p:nvSpPr>
          <p:cNvPr id="7" name="object 7"/>
          <p:cNvSpPr txBox="1"/>
          <p:nvPr/>
        </p:nvSpPr>
        <p:spPr>
          <a:xfrm>
            <a:off x="5791200" y="1352550"/>
            <a:ext cx="2055495" cy="711200"/>
          </a:xfrm>
          <a:prstGeom prst="rect">
            <a:avLst/>
          </a:prstGeom>
        </p:spPr>
        <p:txBody>
          <a:bodyPr vert="horz" wrap="square" lIns="0" tIns="127000" rIns="0" bIns="0" rtlCol="0">
            <a:spAutoFit/>
          </a:bodyPr>
          <a:lstStyle/>
          <a:p>
            <a:pPr marL="12700">
              <a:lnSpc>
                <a:spcPct val="100000"/>
              </a:lnSpc>
              <a:spcBef>
                <a:spcPts val="1000"/>
              </a:spcBef>
            </a:pPr>
            <a:r>
              <a:rPr sz="1500" b="1" spc="-150" dirty="0">
                <a:latin typeface="Trebuchet MS"/>
                <a:cs typeface="Trebuchet MS"/>
              </a:rPr>
              <a:t>2</a:t>
            </a:r>
            <a:r>
              <a:rPr sz="1500" b="1" spc="-60" dirty="0">
                <a:latin typeface="Trebuchet MS"/>
                <a:cs typeface="Trebuchet MS"/>
              </a:rPr>
              <a:t>4,8</a:t>
            </a:r>
            <a:r>
              <a:rPr sz="1500" b="1" spc="-85" dirty="0">
                <a:latin typeface="Trebuchet MS"/>
                <a:cs typeface="Trebuchet MS"/>
              </a:rPr>
              <a:t>0</a:t>
            </a:r>
            <a:r>
              <a:rPr sz="1500" b="1" spc="-105" dirty="0">
                <a:latin typeface="Trebuchet MS"/>
                <a:cs typeface="Trebuchet MS"/>
              </a:rPr>
              <a:t>2</a:t>
            </a:r>
            <a:r>
              <a:rPr sz="1500" b="1" spc="-55" dirty="0">
                <a:latin typeface="Trebuchet MS"/>
                <a:cs typeface="Trebuchet MS"/>
              </a:rPr>
              <a:t> </a:t>
            </a:r>
            <a:r>
              <a:rPr sz="1500" spc="-145" dirty="0">
                <a:latin typeface="Trebuchet MS"/>
                <a:cs typeface="Trebuchet MS"/>
              </a:rPr>
              <a:t>T</a:t>
            </a:r>
            <a:r>
              <a:rPr sz="1500" spc="-5" dirty="0">
                <a:latin typeface="Trebuchet MS"/>
                <a:cs typeface="Trebuchet MS"/>
              </a:rPr>
              <a:t>weets</a:t>
            </a:r>
            <a:endParaRPr sz="1500" dirty="0">
              <a:latin typeface="Trebuchet MS"/>
              <a:cs typeface="Trebuchet MS"/>
            </a:endParaRPr>
          </a:p>
          <a:p>
            <a:pPr marL="12700">
              <a:lnSpc>
                <a:spcPct val="100000"/>
              </a:lnSpc>
              <a:spcBef>
                <a:spcPts val="900"/>
              </a:spcBef>
            </a:pPr>
            <a:r>
              <a:rPr sz="1500" b="1" spc="-100" dirty="0">
                <a:latin typeface="Trebuchet MS"/>
                <a:cs typeface="Trebuchet MS"/>
              </a:rPr>
              <a:t>20,</a:t>
            </a:r>
            <a:r>
              <a:rPr sz="1500" b="1" spc="-125" dirty="0">
                <a:latin typeface="Trebuchet MS"/>
                <a:cs typeface="Trebuchet MS"/>
              </a:rPr>
              <a:t>2</a:t>
            </a:r>
            <a:r>
              <a:rPr sz="1500" b="1" spc="-180" dirty="0">
                <a:latin typeface="Trebuchet MS"/>
                <a:cs typeface="Trebuchet MS"/>
              </a:rPr>
              <a:t>77</a:t>
            </a:r>
            <a:r>
              <a:rPr sz="1500" b="1" spc="-100" dirty="0">
                <a:latin typeface="Trebuchet MS"/>
                <a:cs typeface="Trebuchet MS"/>
              </a:rPr>
              <a:t> </a:t>
            </a:r>
            <a:r>
              <a:rPr sz="1500" spc="-55" dirty="0">
                <a:latin typeface="Trebuchet MS"/>
                <a:cs typeface="Trebuchet MS"/>
              </a:rPr>
              <a:t>W</a:t>
            </a:r>
            <a:r>
              <a:rPr sz="1500" spc="35" dirty="0">
                <a:latin typeface="Trebuchet MS"/>
                <a:cs typeface="Trebuchet MS"/>
              </a:rPr>
              <a:t>o</a:t>
            </a:r>
            <a:r>
              <a:rPr sz="1500" spc="-20" dirty="0">
                <a:latin typeface="Trebuchet MS"/>
                <a:cs typeface="Trebuchet MS"/>
              </a:rPr>
              <a:t>r</a:t>
            </a:r>
            <a:r>
              <a:rPr sz="1500" spc="60" dirty="0">
                <a:latin typeface="Trebuchet MS"/>
                <a:cs typeface="Trebuchet MS"/>
              </a:rPr>
              <a:t>d</a:t>
            </a:r>
            <a:r>
              <a:rPr sz="1500" spc="-55" dirty="0">
                <a:latin typeface="Trebuchet MS"/>
                <a:cs typeface="Trebuchet MS"/>
              </a:rPr>
              <a:t> </a:t>
            </a:r>
            <a:r>
              <a:rPr sz="1500" spc="-90" dirty="0">
                <a:latin typeface="Trebuchet MS"/>
                <a:cs typeface="Trebuchet MS"/>
              </a:rPr>
              <a:t>V</a:t>
            </a:r>
            <a:r>
              <a:rPr sz="1500" spc="20" dirty="0">
                <a:latin typeface="Trebuchet MS"/>
                <a:cs typeface="Trebuchet MS"/>
              </a:rPr>
              <a:t>o</a:t>
            </a:r>
            <a:r>
              <a:rPr sz="1500" spc="5" dirty="0">
                <a:latin typeface="Trebuchet MS"/>
                <a:cs typeface="Trebuchet MS"/>
              </a:rPr>
              <a:t>c</a:t>
            </a:r>
            <a:r>
              <a:rPr sz="1500" spc="35" dirty="0">
                <a:latin typeface="Trebuchet MS"/>
                <a:cs typeface="Trebuchet MS"/>
              </a:rPr>
              <a:t>abu</a:t>
            </a:r>
            <a:r>
              <a:rPr sz="1500" spc="10" dirty="0">
                <a:latin typeface="Trebuchet MS"/>
                <a:cs typeface="Trebuchet MS"/>
              </a:rPr>
              <a:t>l</a:t>
            </a:r>
            <a:r>
              <a:rPr sz="1500" spc="5" dirty="0">
                <a:latin typeface="Trebuchet MS"/>
                <a:cs typeface="Trebuchet MS"/>
              </a:rPr>
              <a:t>ary</a:t>
            </a:r>
            <a:endParaRPr sz="1500" dirty="0">
              <a:latin typeface="Trebuchet MS"/>
              <a:cs typeface="Trebuchet MS"/>
            </a:endParaRPr>
          </a:p>
        </p:txBody>
      </p:sp>
      <p:pic>
        <p:nvPicPr>
          <p:cNvPr id="8" name="object 8"/>
          <p:cNvPicPr/>
          <p:nvPr/>
        </p:nvPicPr>
        <p:blipFill>
          <a:blip r:embed="rId3" cstate="print"/>
          <a:stretch>
            <a:fillRect/>
          </a:stretch>
        </p:blipFill>
        <p:spPr>
          <a:xfrm>
            <a:off x="5711276" y="2324044"/>
            <a:ext cx="1998974" cy="624357"/>
          </a:xfrm>
          <a:prstGeom prst="rect">
            <a:avLst/>
          </a:prstGeom>
        </p:spPr>
      </p:pic>
      <p:pic>
        <p:nvPicPr>
          <p:cNvPr id="9" name="object 9"/>
          <p:cNvPicPr/>
          <p:nvPr/>
        </p:nvPicPr>
        <p:blipFill>
          <a:blip r:embed="rId4" cstate="print"/>
          <a:stretch>
            <a:fillRect/>
          </a:stretch>
        </p:blipFill>
        <p:spPr>
          <a:xfrm>
            <a:off x="5711276" y="3053702"/>
            <a:ext cx="1998975" cy="624357"/>
          </a:xfrm>
          <a:prstGeom prst="rect">
            <a:avLst/>
          </a:prstGeom>
        </p:spPr>
      </p:pic>
      <p:sp>
        <p:nvSpPr>
          <p:cNvPr id="6" name="TextBox 5">
            <a:extLst>
              <a:ext uri="{FF2B5EF4-FFF2-40B4-BE49-F238E27FC236}">
                <a16:creationId xmlns:a16="http://schemas.microsoft.com/office/drawing/2014/main" id="{C955D4B8-0256-4B4B-BB7D-A3F67669825F}"/>
              </a:ext>
            </a:extLst>
          </p:cNvPr>
          <p:cNvSpPr txBox="1"/>
          <p:nvPr/>
        </p:nvSpPr>
        <p:spPr>
          <a:xfrm>
            <a:off x="990600" y="4349507"/>
            <a:ext cx="3889206" cy="369332"/>
          </a:xfrm>
          <a:prstGeom prst="rect">
            <a:avLst/>
          </a:prstGeom>
          <a:noFill/>
        </p:spPr>
        <p:txBody>
          <a:bodyPr wrap="none" rtlCol="0">
            <a:spAutoFit/>
          </a:bodyPr>
          <a:lstStyle/>
          <a:p>
            <a:r>
              <a:rPr lang="en-US" dirty="0">
                <a:latin typeface="Trebuchet MS" panose="020B0603020202020204" pitchFamily="34" charset="0"/>
              </a:rPr>
              <a:t>Fig 13. Hate to Non hate proportion</a:t>
            </a:r>
          </a:p>
        </p:txBody>
      </p:sp>
      <p:pic>
        <p:nvPicPr>
          <p:cNvPr id="10" name="Google Shape;108;p1">
            <a:extLst>
              <a:ext uri="{FF2B5EF4-FFF2-40B4-BE49-F238E27FC236}">
                <a16:creationId xmlns:a16="http://schemas.microsoft.com/office/drawing/2014/main" id="{9901EE77-7125-4718-A685-7456025B444E}"/>
              </a:ext>
            </a:extLst>
          </p:cNvPr>
          <p:cNvPicPr preferRelativeResize="0"/>
          <p:nvPr/>
        </p:nvPicPr>
        <p:blipFill rotWithShape="1">
          <a:blip r:embed="rId5">
            <a:alphaModFix/>
          </a:blip>
          <a:srcRect/>
          <a:stretch/>
        </p:blipFill>
        <p:spPr>
          <a:xfrm>
            <a:off x="8712986" y="4782288"/>
            <a:ext cx="346788" cy="335193"/>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9144547" cy="5143500"/>
            <a:chOff x="0" y="0"/>
            <a:chExt cx="9144547" cy="5143500"/>
          </a:xfrm>
        </p:grpSpPr>
        <p:sp>
          <p:nvSpPr>
            <p:cNvPr id="3" name="object 3"/>
            <p:cNvSpPr/>
            <p:nvPr/>
          </p:nvSpPr>
          <p:spPr>
            <a:xfrm>
              <a:off x="0" y="0"/>
              <a:ext cx="4538980" cy="5143500"/>
            </a:xfrm>
            <a:custGeom>
              <a:avLst/>
              <a:gdLst/>
              <a:ahLst/>
              <a:cxnLst/>
              <a:rect l="l" t="t" r="r" b="b"/>
              <a:pathLst>
                <a:path w="4538980" h="5143500">
                  <a:moveTo>
                    <a:pt x="4538699" y="5143499"/>
                  </a:moveTo>
                  <a:lnTo>
                    <a:pt x="0" y="5143499"/>
                  </a:lnTo>
                  <a:lnTo>
                    <a:pt x="0" y="0"/>
                  </a:lnTo>
                  <a:lnTo>
                    <a:pt x="4538699" y="0"/>
                  </a:lnTo>
                  <a:lnTo>
                    <a:pt x="4538699" y="5143499"/>
                  </a:lnTo>
                  <a:close/>
                </a:path>
              </a:pathLst>
            </a:custGeom>
            <a:solidFill>
              <a:srgbClr val="F4F7FA"/>
            </a:solidFill>
          </p:spPr>
          <p:txBody>
            <a:bodyPr wrap="square" lIns="0" tIns="0" rIns="0" bIns="0" rtlCol="0"/>
            <a:lstStyle/>
            <a:p>
              <a:endParaRPr/>
            </a:p>
          </p:txBody>
        </p:sp>
        <p:sp>
          <p:nvSpPr>
            <p:cNvPr id="4" name="object 4"/>
            <p:cNvSpPr/>
            <p:nvPr/>
          </p:nvSpPr>
          <p:spPr>
            <a:xfrm>
              <a:off x="2481064" y="372262"/>
              <a:ext cx="2342515" cy="721995"/>
            </a:xfrm>
            <a:custGeom>
              <a:avLst/>
              <a:gdLst/>
              <a:ahLst/>
              <a:cxnLst/>
              <a:rect l="l" t="t" r="r" b="b"/>
              <a:pathLst>
                <a:path w="2342515" h="721994">
                  <a:moveTo>
                    <a:pt x="1958158" y="721656"/>
                  </a:moveTo>
                  <a:lnTo>
                    <a:pt x="0" y="721656"/>
                  </a:lnTo>
                  <a:lnTo>
                    <a:pt x="384268" y="361243"/>
                  </a:lnTo>
                  <a:lnTo>
                    <a:pt x="0" y="0"/>
                  </a:lnTo>
                  <a:lnTo>
                    <a:pt x="1958158" y="0"/>
                  </a:lnTo>
                  <a:lnTo>
                    <a:pt x="2342427" y="361243"/>
                  </a:lnTo>
                  <a:lnTo>
                    <a:pt x="1958158" y="721656"/>
                  </a:lnTo>
                  <a:close/>
                </a:path>
              </a:pathLst>
            </a:custGeom>
            <a:solidFill>
              <a:srgbClr val="7BD4E9"/>
            </a:solidFill>
          </p:spPr>
          <p:txBody>
            <a:bodyPr wrap="square" lIns="0" tIns="0" rIns="0" bIns="0" rtlCol="0"/>
            <a:lstStyle/>
            <a:p>
              <a:endParaRPr dirty="0">
                <a:solidFill>
                  <a:srgbClr val="1C8DA9"/>
                </a:solidFill>
              </a:endParaRPr>
            </a:p>
          </p:txBody>
        </p:sp>
        <p:sp>
          <p:nvSpPr>
            <p:cNvPr id="5" name="object 5"/>
            <p:cNvSpPr/>
            <p:nvPr/>
          </p:nvSpPr>
          <p:spPr>
            <a:xfrm>
              <a:off x="4303836" y="372237"/>
              <a:ext cx="3123565" cy="721995"/>
            </a:xfrm>
            <a:custGeom>
              <a:avLst/>
              <a:gdLst/>
              <a:ahLst/>
              <a:cxnLst/>
              <a:rect l="l" t="t" r="r" b="b"/>
              <a:pathLst>
                <a:path w="3123565" h="721994">
                  <a:moveTo>
                    <a:pt x="2611301" y="721656"/>
                  </a:moveTo>
                  <a:lnTo>
                    <a:pt x="0" y="721656"/>
                  </a:lnTo>
                  <a:lnTo>
                    <a:pt x="512142" y="361243"/>
                  </a:lnTo>
                  <a:lnTo>
                    <a:pt x="0" y="0"/>
                  </a:lnTo>
                  <a:lnTo>
                    <a:pt x="2611301" y="0"/>
                  </a:lnTo>
                  <a:lnTo>
                    <a:pt x="3123444" y="361243"/>
                  </a:lnTo>
                  <a:lnTo>
                    <a:pt x="2611301" y="721656"/>
                  </a:lnTo>
                  <a:close/>
                </a:path>
              </a:pathLst>
            </a:custGeom>
            <a:solidFill>
              <a:srgbClr val="1C8DA9"/>
            </a:solidFill>
          </p:spPr>
          <p:txBody>
            <a:bodyPr wrap="square" lIns="0" tIns="0" rIns="0" bIns="0" rtlCol="0"/>
            <a:lstStyle/>
            <a:p>
              <a:endParaRPr/>
            </a:p>
          </p:txBody>
        </p:sp>
        <p:sp>
          <p:nvSpPr>
            <p:cNvPr id="6" name="object 6"/>
            <p:cNvSpPr/>
            <p:nvPr/>
          </p:nvSpPr>
          <p:spPr>
            <a:xfrm>
              <a:off x="0" y="372237"/>
              <a:ext cx="2967990" cy="721995"/>
            </a:xfrm>
            <a:custGeom>
              <a:avLst/>
              <a:gdLst/>
              <a:ahLst/>
              <a:cxnLst/>
              <a:rect l="l" t="t" r="r" b="b"/>
              <a:pathLst>
                <a:path w="2967990" h="721994">
                  <a:moveTo>
                    <a:pt x="2967498" y="721716"/>
                  </a:moveTo>
                  <a:lnTo>
                    <a:pt x="0" y="721716"/>
                  </a:lnTo>
                  <a:lnTo>
                    <a:pt x="0" y="0"/>
                  </a:lnTo>
                  <a:lnTo>
                    <a:pt x="2967498" y="0"/>
                  </a:lnTo>
                  <a:lnTo>
                    <a:pt x="2967498" y="721716"/>
                  </a:lnTo>
                  <a:close/>
                </a:path>
              </a:pathLst>
            </a:custGeom>
            <a:solidFill>
              <a:srgbClr val="B4A7D6"/>
            </a:solidFill>
          </p:spPr>
          <p:txBody>
            <a:bodyPr wrap="square" lIns="0" tIns="0" rIns="0" bIns="0" rtlCol="0"/>
            <a:lstStyle/>
            <a:p>
              <a:endParaRPr/>
            </a:p>
          </p:txBody>
        </p:sp>
        <p:sp>
          <p:nvSpPr>
            <p:cNvPr id="7" name="object 7"/>
            <p:cNvSpPr/>
            <p:nvPr/>
          </p:nvSpPr>
          <p:spPr>
            <a:xfrm>
              <a:off x="6557557" y="372212"/>
              <a:ext cx="2586990" cy="721995"/>
            </a:xfrm>
            <a:custGeom>
              <a:avLst/>
              <a:gdLst/>
              <a:ahLst/>
              <a:cxnLst/>
              <a:rect l="l" t="t" r="r" b="b"/>
              <a:pathLst>
                <a:path w="2586990" h="721994">
                  <a:moveTo>
                    <a:pt x="0" y="0"/>
                  </a:moveTo>
                  <a:lnTo>
                    <a:pt x="2586442" y="0"/>
                  </a:lnTo>
                  <a:lnTo>
                    <a:pt x="2586442" y="721716"/>
                  </a:lnTo>
                  <a:lnTo>
                    <a:pt x="0" y="721716"/>
                  </a:lnTo>
                  <a:lnTo>
                    <a:pt x="0" y="0"/>
                  </a:lnTo>
                  <a:close/>
                </a:path>
              </a:pathLst>
            </a:custGeom>
            <a:solidFill>
              <a:srgbClr val="1C8DA9"/>
            </a:solidFill>
          </p:spPr>
          <p:txBody>
            <a:bodyPr wrap="square" lIns="0" tIns="0" rIns="0" bIns="0" rtlCol="0"/>
            <a:lstStyle/>
            <a:p>
              <a:endParaRPr/>
            </a:p>
          </p:txBody>
        </p:sp>
      </p:grpSp>
      <p:sp>
        <p:nvSpPr>
          <p:cNvPr id="8" name="object 8"/>
          <p:cNvSpPr txBox="1">
            <a:spLocks noGrp="1"/>
          </p:cNvSpPr>
          <p:nvPr>
            <p:ph type="title"/>
          </p:nvPr>
        </p:nvSpPr>
        <p:spPr>
          <a:xfrm>
            <a:off x="0" y="372237"/>
            <a:ext cx="3082290" cy="721995"/>
          </a:xfrm>
          <a:prstGeom prst="rect">
            <a:avLst/>
          </a:prstGeom>
          <a:solidFill>
            <a:srgbClr val="7BD4E9"/>
          </a:solidFill>
        </p:spPr>
        <p:txBody>
          <a:bodyPr vert="horz" wrap="square" lIns="0" tIns="145415" rIns="0" bIns="0" rtlCol="0">
            <a:spAutoFit/>
          </a:bodyPr>
          <a:lstStyle/>
          <a:p>
            <a:pPr marL="777875">
              <a:lnSpc>
                <a:spcPct val="100000"/>
              </a:lnSpc>
              <a:spcBef>
                <a:spcPts val="1145"/>
              </a:spcBef>
            </a:pPr>
            <a:r>
              <a:rPr sz="2600" spc="50" dirty="0">
                <a:solidFill>
                  <a:srgbClr val="F3F3F3"/>
                </a:solidFill>
              </a:rPr>
              <a:t>B</a:t>
            </a:r>
            <a:r>
              <a:rPr sz="2600" spc="20" dirty="0">
                <a:solidFill>
                  <a:srgbClr val="F3F3F3"/>
                </a:solidFill>
              </a:rPr>
              <a:t>a</a:t>
            </a:r>
            <a:r>
              <a:rPr lang="en-US" sz="2600" spc="-10" dirty="0">
                <a:solidFill>
                  <a:srgbClr val="F3F3F3"/>
                </a:solidFill>
              </a:rPr>
              <a:t>se</a:t>
            </a:r>
            <a:r>
              <a:rPr sz="2600" spc="-10" dirty="0">
                <a:solidFill>
                  <a:srgbClr val="F3F3F3"/>
                </a:solidFill>
              </a:rPr>
              <a:t>line</a:t>
            </a:r>
            <a:r>
              <a:rPr sz="2600" spc="-170" dirty="0">
                <a:solidFill>
                  <a:srgbClr val="F3F3F3"/>
                </a:solidFill>
              </a:rPr>
              <a:t> </a:t>
            </a:r>
            <a:r>
              <a:rPr sz="2600" spc="30" dirty="0">
                <a:solidFill>
                  <a:srgbClr val="F3F3F3"/>
                </a:solidFill>
              </a:rPr>
              <a:t>Model</a:t>
            </a:r>
            <a:endParaRPr sz="2600" dirty="0"/>
          </a:p>
        </p:txBody>
      </p:sp>
      <p:sp>
        <p:nvSpPr>
          <p:cNvPr id="9" name="object 9"/>
          <p:cNvSpPr txBox="1"/>
          <p:nvPr/>
        </p:nvSpPr>
        <p:spPr>
          <a:xfrm>
            <a:off x="778425" y="1495840"/>
            <a:ext cx="2581910" cy="605790"/>
          </a:xfrm>
          <a:prstGeom prst="rect">
            <a:avLst/>
          </a:prstGeom>
        </p:spPr>
        <p:txBody>
          <a:bodyPr vert="horz" wrap="square" lIns="0" tIns="12700" rIns="0" bIns="0" rtlCol="0">
            <a:spAutoFit/>
          </a:bodyPr>
          <a:lstStyle/>
          <a:p>
            <a:pPr>
              <a:lnSpc>
                <a:spcPct val="100000"/>
              </a:lnSpc>
              <a:spcBef>
                <a:spcPts val="100"/>
              </a:spcBef>
            </a:pPr>
            <a:r>
              <a:rPr sz="2000" b="1" spc="-10" dirty="0">
                <a:solidFill>
                  <a:srgbClr val="666666"/>
                </a:solidFill>
                <a:latin typeface="Trebuchet MS"/>
                <a:cs typeface="Trebuchet MS"/>
              </a:rPr>
              <a:t>Nai</a:t>
            </a:r>
            <a:r>
              <a:rPr sz="2000" b="1" spc="-30" dirty="0">
                <a:solidFill>
                  <a:srgbClr val="666666"/>
                </a:solidFill>
                <a:latin typeface="Trebuchet MS"/>
                <a:cs typeface="Trebuchet MS"/>
              </a:rPr>
              <a:t>v</a:t>
            </a:r>
            <a:r>
              <a:rPr sz="2000" b="1" spc="-50" dirty="0">
                <a:solidFill>
                  <a:srgbClr val="666666"/>
                </a:solidFill>
                <a:latin typeface="Trebuchet MS"/>
                <a:cs typeface="Trebuchet MS"/>
              </a:rPr>
              <a:t>e</a:t>
            </a:r>
            <a:r>
              <a:rPr sz="2000" b="1" spc="-130" dirty="0">
                <a:solidFill>
                  <a:srgbClr val="666666"/>
                </a:solidFill>
                <a:latin typeface="Trebuchet MS"/>
                <a:cs typeface="Trebuchet MS"/>
              </a:rPr>
              <a:t> </a:t>
            </a:r>
            <a:r>
              <a:rPr sz="2000" b="1" spc="35" dirty="0">
                <a:solidFill>
                  <a:srgbClr val="666666"/>
                </a:solidFill>
                <a:latin typeface="Trebuchet MS"/>
                <a:cs typeface="Trebuchet MS"/>
              </a:rPr>
              <a:t>B</a:t>
            </a:r>
            <a:r>
              <a:rPr sz="2000" b="1" spc="5" dirty="0">
                <a:solidFill>
                  <a:srgbClr val="666666"/>
                </a:solidFill>
                <a:latin typeface="Trebuchet MS"/>
                <a:cs typeface="Trebuchet MS"/>
              </a:rPr>
              <a:t>a</a:t>
            </a:r>
            <a:r>
              <a:rPr sz="2000" b="1" spc="-50" dirty="0">
                <a:solidFill>
                  <a:srgbClr val="666666"/>
                </a:solidFill>
                <a:latin typeface="Trebuchet MS"/>
                <a:cs typeface="Trebuchet MS"/>
              </a:rPr>
              <a:t>y</a:t>
            </a:r>
            <a:r>
              <a:rPr sz="2000" b="1" spc="25" dirty="0">
                <a:solidFill>
                  <a:srgbClr val="666666"/>
                </a:solidFill>
                <a:latin typeface="Trebuchet MS"/>
                <a:cs typeface="Trebuchet MS"/>
              </a:rPr>
              <a:t>es</a:t>
            </a:r>
            <a:endParaRPr sz="2000">
              <a:latin typeface="Trebuchet MS"/>
              <a:cs typeface="Trebuchet MS"/>
            </a:endParaRPr>
          </a:p>
          <a:p>
            <a:pPr>
              <a:lnSpc>
                <a:spcPct val="100000"/>
              </a:lnSpc>
              <a:spcBef>
                <a:spcPts val="5"/>
              </a:spcBef>
            </a:pPr>
            <a:r>
              <a:rPr sz="1800" spc="-15" dirty="0">
                <a:solidFill>
                  <a:srgbClr val="666666"/>
                </a:solidFill>
                <a:latin typeface="Trebuchet MS"/>
                <a:cs typeface="Trebuchet MS"/>
              </a:rPr>
              <a:t>with</a:t>
            </a:r>
            <a:r>
              <a:rPr sz="1800" spc="-105" dirty="0">
                <a:solidFill>
                  <a:srgbClr val="666666"/>
                </a:solidFill>
                <a:latin typeface="Trebuchet MS"/>
                <a:cs typeface="Trebuchet MS"/>
              </a:rPr>
              <a:t> </a:t>
            </a:r>
            <a:r>
              <a:rPr sz="1800" spc="-20" dirty="0">
                <a:solidFill>
                  <a:srgbClr val="666666"/>
                </a:solidFill>
                <a:latin typeface="Trebuchet MS"/>
                <a:cs typeface="Trebuchet MS"/>
              </a:rPr>
              <a:t>TF-IDF</a:t>
            </a:r>
            <a:r>
              <a:rPr sz="1800" spc="-100" dirty="0">
                <a:solidFill>
                  <a:srgbClr val="666666"/>
                </a:solidFill>
                <a:latin typeface="Trebuchet MS"/>
                <a:cs typeface="Trebuchet MS"/>
              </a:rPr>
              <a:t> </a:t>
            </a:r>
            <a:r>
              <a:rPr sz="1800" spc="-10" dirty="0">
                <a:solidFill>
                  <a:srgbClr val="666666"/>
                </a:solidFill>
                <a:latin typeface="Trebuchet MS"/>
                <a:cs typeface="Trebuchet MS"/>
              </a:rPr>
              <a:t>Vectorization</a:t>
            </a:r>
            <a:endParaRPr sz="1800">
              <a:latin typeface="Trebuchet MS"/>
              <a:cs typeface="Trebuchet MS"/>
            </a:endParaRPr>
          </a:p>
        </p:txBody>
      </p:sp>
      <p:grpSp>
        <p:nvGrpSpPr>
          <p:cNvPr id="10" name="object 10"/>
          <p:cNvGrpSpPr/>
          <p:nvPr/>
        </p:nvGrpSpPr>
        <p:grpSpPr>
          <a:xfrm>
            <a:off x="894870" y="3448271"/>
            <a:ext cx="2578100" cy="694690"/>
            <a:chOff x="894870" y="3448271"/>
            <a:chExt cx="2578100" cy="694690"/>
          </a:xfrm>
        </p:grpSpPr>
        <p:sp>
          <p:nvSpPr>
            <p:cNvPr id="11" name="object 11"/>
            <p:cNvSpPr/>
            <p:nvPr/>
          </p:nvSpPr>
          <p:spPr>
            <a:xfrm>
              <a:off x="906208" y="3448271"/>
              <a:ext cx="2566670" cy="693420"/>
            </a:xfrm>
            <a:custGeom>
              <a:avLst/>
              <a:gdLst/>
              <a:ahLst/>
              <a:cxnLst/>
              <a:rect l="l" t="t" r="r" b="b"/>
              <a:pathLst>
                <a:path w="2566670" h="693420">
                  <a:moveTo>
                    <a:pt x="950635" y="693319"/>
                  </a:moveTo>
                  <a:lnTo>
                    <a:pt x="873177" y="693237"/>
                  </a:lnTo>
                  <a:lnTo>
                    <a:pt x="797572" y="692988"/>
                  </a:lnTo>
                  <a:lnTo>
                    <a:pt x="724148" y="692563"/>
                  </a:lnTo>
                  <a:lnTo>
                    <a:pt x="653232" y="691955"/>
                  </a:lnTo>
                  <a:lnTo>
                    <a:pt x="585151" y="691158"/>
                  </a:lnTo>
                  <a:lnTo>
                    <a:pt x="520232" y="690163"/>
                  </a:lnTo>
                  <a:lnTo>
                    <a:pt x="458803" y="688964"/>
                  </a:lnTo>
                  <a:lnTo>
                    <a:pt x="401191" y="687554"/>
                  </a:lnTo>
                  <a:lnTo>
                    <a:pt x="347724" y="685924"/>
                  </a:lnTo>
                  <a:lnTo>
                    <a:pt x="298728" y="684069"/>
                  </a:lnTo>
                  <a:lnTo>
                    <a:pt x="254532" y="681980"/>
                  </a:lnTo>
                  <a:lnTo>
                    <a:pt x="215462" y="679651"/>
                  </a:lnTo>
                  <a:lnTo>
                    <a:pt x="154010" y="674242"/>
                  </a:lnTo>
                  <a:lnTo>
                    <a:pt x="106201" y="657461"/>
                  </a:lnTo>
                  <a:lnTo>
                    <a:pt x="79582" y="598639"/>
                  </a:lnTo>
                  <a:lnTo>
                    <a:pt x="65036" y="554275"/>
                  </a:lnTo>
                  <a:lnTo>
                    <a:pt x="50521" y="502700"/>
                  </a:lnTo>
                  <a:lnTo>
                    <a:pt x="36678" y="445981"/>
                  </a:lnTo>
                  <a:lnTo>
                    <a:pt x="24148" y="386185"/>
                  </a:lnTo>
                  <a:lnTo>
                    <a:pt x="13575" y="325382"/>
                  </a:lnTo>
                  <a:lnTo>
                    <a:pt x="5598" y="265638"/>
                  </a:lnTo>
                  <a:lnTo>
                    <a:pt x="859" y="209021"/>
                  </a:lnTo>
                  <a:lnTo>
                    <a:pt x="0" y="157600"/>
                  </a:lnTo>
                  <a:lnTo>
                    <a:pt x="3661" y="113441"/>
                  </a:lnTo>
                  <a:lnTo>
                    <a:pt x="27114" y="55184"/>
                  </a:lnTo>
                  <a:lnTo>
                    <a:pt x="67512" y="41369"/>
                  </a:lnTo>
                  <a:lnTo>
                    <a:pt x="120022" y="33383"/>
                  </a:lnTo>
                  <a:lnTo>
                    <a:pt x="190738" y="26340"/>
                  </a:lnTo>
                  <a:lnTo>
                    <a:pt x="232319" y="23162"/>
                  </a:lnTo>
                  <a:lnTo>
                    <a:pt x="277726" y="20207"/>
                  </a:lnTo>
                  <a:lnTo>
                    <a:pt x="326717" y="17472"/>
                  </a:lnTo>
                  <a:lnTo>
                    <a:pt x="379050" y="14953"/>
                  </a:lnTo>
                  <a:lnTo>
                    <a:pt x="434485" y="12645"/>
                  </a:lnTo>
                  <a:lnTo>
                    <a:pt x="492778" y="10544"/>
                  </a:lnTo>
                  <a:lnTo>
                    <a:pt x="553688" y="8648"/>
                  </a:lnTo>
                  <a:lnTo>
                    <a:pt x="616973" y="6951"/>
                  </a:lnTo>
                  <a:lnTo>
                    <a:pt x="682392" y="5449"/>
                  </a:lnTo>
                  <a:lnTo>
                    <a:pt x="749702" y="4139"/>
                  </a:lnTo>
                  <a:lnTo>
                    <a:pt x="818662" y="3017"/>
                  </a:lnTo>
                  <a:lnTo>
                    <a:pt x="889030" y="2078"/>
                  </a:lnTo>
                  <a:lnTo>
                    <a:pt x="960565" y="1319"/>
                  </a:lnTo>
                  <a:lnTo>
                    <a:pt x="1033024" y="736"/>
                  </a:lnTo>
                  <a:lnTo>
                    <a:pt x="1106165" y="324"/>
                  </a:lnTo>
                  <a:lnTo>
                    <a:pt x="1179748" y="80"/>
                  </a:lnTo>
                  <a:lnTo>
                    <a:pt x="1253529" y="0"/>
                  </a:lnTo>
                  <a:lnTo>
                    <a:pt x="1326808" y="78"/>
                  </a:lnTo>
                  <a:lnTo>
                    <a:pt x="1399808" y="310"/>
                  </a:lnTo>
                  <a:lnTo>
                    <a:pt x="1472291" y="691"/>
                  </a:lnTo>
                  <a:lnTo>
                    <a:pt x="1544020" y="1218"/>
                  </a:lnTo>
                  <a:lnTo>
                    <a:pt x="1614758" y="1888"/>
                  </a:lnTo>
                  <a:lnTo>
                    <a:pt x="1684267" y="2695"/>
                  </a:lnTo>
                  <a:lnTo>
                    <a:pt x="1752310" y="3636"/>
                  </a:lnTo>
                  <a:lnTo>
                    <a:pt x="1818650" y="4706"/>
                  </a:lnTo>
                  <a:lnTo>
                    <a:pt x="1883049" y="5903"/>
                  </a:lnTo>
                  <a:lnTo>
                    <a:pt x="1945270" y="7222"/>
                  </a:lnTo>
                  <a:lnTo>
                    <a:pt x="2005076" y="8658"/>
                  </a:lnTo>
                  <a:lnTo>
                    <a:pt x="2062229" y="10209"/>
                  </a:lnTo>
                  <a:lnTo>
                    <a:pt x="2116492" y="11870"/>
                  </a:lnTo>
                  <a:lnTo>
                    <a:pt x="2167628" y="13637"/>
                  </a:lnTo>
                  <a:lnTo>
                    <a:pt x="2215399" y="15506"/>
                  </a:lnTo>
                  <a:lnTo>
                    <a:pt x="2259569" y="17473"/>
                  </a:lnTo>
                  <a:lnTo>
                    <a:pt x="2299899" y="19535"/>
                  </a:lnTo>
                  <a:lnTo>
                    <a:pt x="2368091" y="23925"/>
                  </a:lnTo>
                  <a:lnTo>
                    <a:pt x="2418079" y="28644"/>
                  </a:lnTo>
                  <a:lnTo>
                    <a:pt x="2468877" y="53179"/>
                  </a:lnTo>
                  <a:lnTo>
                    <a:pt x="2498261" y="125848"/>
                  </a:lnTo>
                  <a:lnTo>
                    <a:pt x="2512644" y="176870"/>
                  </a:lnTo>
                  <a:lnTo>
                    <a:pt x="2526224" y="234525"/>
                  </a:lnTo>
                  <a:lnTo>
                    <a:pt x="2538553" y="296443"/>
                  </a:lnTo>
                  <a:lnTo>
                    <a:pt x="2549182" y="360255"/>
                  </a:lnTo>
                  <a:lnTo>
                    <a:pt x="2557663" y="423592"/>
                  </a:lnTo>
                  <a:lnTo>
                    <a:pt x="2563548" y="484084"/>
                  </a:lnTo>
                  <a:lnTo>
                    <a:pt x="2566389" y="539361"/>
                  </a:lnTo>
                  <a:lnTo>
                    <a:pt x="2565738" y="587056"/>
                  </a:lnTo>
                  <a:lnTo>
                    <a:pt x="2552167" y="650217"/>
                  </a:lnTo>
                  <a:lnTo>
                    <a:pt x="2511805" y="663855"/>
                  </a:lnTo>
                  <a:lnTo>
                    <a:pt x="2468220" y="666797"/>
                  </a:lnTo>
                  <a:lnTo>
                    <a:pt x="2409057" y="669739"/>
                  </a:lnTo>
                  <a:lnTo>
                    <a:pt x="2335776" y="672648"/>
                  </a:lnTo>
                  <a:lnTo>
                    <a:pt x="2294297" y="674081"/>
                  </a:lnTo>
                  <a:lnTo>
                    <a:pt x="2249837" y="675493"/>
                  </a:lnTo>
                  <a:lnTo>
                    <a:pt x="2202577" y="676881"/>
                  </a:lnTo>
                  <a:lnTo>
                    <a:pt x="2152701" y="678240"/>
                  </a:lnTo>
                  <a:lnTo>
                    <a:pt x="2100390" y="679568"/>
                  </a:lnTo>
                  <a:lnTo>
                    <a:pt x="2045828" y="680859"/>
                  </a:lnTo>
                  <a:lnTo>
                    <a:pt x="1989196" y="682109"/>
                  </a:lnTo>
                  <a:lnTo>
                    <a:pt x="1930678" y="683315"/>
                  </a:lnTo>
                  <a:lnTo>
                    <a:pt x="1870456" y="684472"/>
                  </a:lnTo>
                  <a:lnTo>
                    <a:pt x="1808712" y="685577"/>
                  </a:lnTo>
                  <a:lnTo>
                    <a:pt x="1745629" y="686625"/>
                  </a:lnTo>
                  <a:lnTo>
                    <a:pt x="1681389" y="687613"/>
                  </a:lnTo>
                  <a:lnTo>
                    <a:pt x="1616176" y="688536"/>
                  </a:lnTo>
                  <a:lnTo>
                    <a:pt x="1550171" y="689390"/>
                  </a:lnTo>
                  <a:lnTo>
                    <a:pt x="1483558" y="690172"/>
                  </a:lnTo>
                  <a:lnTo>
                    <a:pt x="1416518" y="690876"/>
                  </a:lnTo>
                  <a:lnTo>
                    <a:pt x="1349234" y="691500"/>
                  </a:lnTo>
                  <a:lnTo>
                    <a:pt x="1281889" y="692039"/>
                  </a:lnTo>
                  <a:lnTo>
                    <a:pt x="1214666" y="692489"/>
                  </a:lnTo>
                  <a:lnTo>
                    <a:pt x="1147746" y="692846"/>
                  </a:lnTo>
                  <a:lnTo>
                    <a:pt x="1081312" y="693106"/>
                  </a:lnTo>
                  <a:lnTo>
                    <a:pt x="1015548" y="693265"/>
                  </a:lnTo>
                  <a:lnTo>
                    <a:pt x="950635" y="693319"/>
                  </a:lnTo>
                  <a:close/>
                </a:path>
              </a:pathLst>
            </a:custGeom>
            <a:solidFill>
              <a:srgbClr val="7BD4E9"/>
            </a:solidFill>
          </p:spPr>
          <p:txBody>
            <a:bodyPr wrap="square" lIns="0" tIns="0" rIns="0" bIns="0" rtlCol="0"/>
            <a:lstStyle/>
            <a:p>
              <a:endParaRPr/>
            </a:p>
          </p:txBody>
        </p:sp>
        <p:sp>
          <p:nvSpPr>
            <p:cNvPr id="12" name="object 12"/>
            <p:cNvSpPr/>
            <p:nvPr/>
          </p:nvSpPr>
          <p:spPr>
            <a:xfrm>
              <a:off x="894867" y="3456787"/>
              <a:ext cx="1349375" cy="686435"/>
            </a:xfrm>
            <a:custGeom>
              <a:avLst/>
              <a:gdLst/>
              <a:ahLst/>
              <a:cxnLst/>
              <a:rect l="l" t="t" r="r" b="b"/>
              <a:pathLst>
                <a:path w="1349375" h="686435">
                  <a:moveTo>
                    <a:pt x="1348879" y="7556"/>
                  </a:moveTo>
                  <a:lnTo>
                    <a:pt x="1275930" y="5435"/>
                  </a:lnTo>
                  <a:lnTo>
                    <a:pt x="1207249" y="3670"/>
                  </a:lnTo>
                  <a:lnTo>
                    <a:pt x="1143292" y="2247"/>
                  </a:lnTo>
                  <a:lnTo>
                    <a:pt x="1084491" y="1168"/>
                  </a:lnTo>
                  <a:lnTo>
                    <a:pt x="1031316" y="431"/>
                  </a:lnTo>
                  <a:lnTo>
                    <a:pt x="984211" y="50"/>
                  </a:lnTo>
                  <a:lnTo>
                    <a:pt x="943610" y="0"/>
                  </a:lnTo>
                  <a:lnTo>
                    <a:pt x="930922" y="127"/>
                  </a:lnTo>
                  <a:lnTo>
                    <a:pt x="922997" y="50"/>
                  </a:lnTo>
                  <a:lnTo>
                    <a:pt x="882396" y="0"/>
                  </a:lnTo>
                  <a:lnTo>
                    <a:pt x="822566" y="952"/>
                  </a:lnTo>
                  <a:lnTo>
                    <a:pt x="792518" y="8699"/>
                  </a:lnTo>
                  <a:lnTo>
                    <a:pt x="784326" y="8229"/>
                  </a:lnTo>
                  <a:lnTo>
                    <a:pt x="719175" y="5676"/>
                  </a:lnTo>
                  <a:lnTo>
                    <a:pt x="650722" y="4089"/>
                  </a:lnTo>
                  <a:lnTo>
                    <a:pt x="580605" y="3543"/>
                  </a:lnTo>
                  <a:lnTo>
                    <a:pt x="510895" y="4102"/>
                  </a:lnTo>
                  <a:lnTo>
                    <a:pt x="452920" y="5600"/>
                  </a:lnTo>
                  <a:lnTo>
                    <a:pt x="454406" y="3403"/>
                  </a:lnTo>
                  <a:lnTo>
                    <a:pt x="383095" y="8610"/>
                  </a:lnTo>
                  <a:lnTo>
                    <a:pt x="377863" y="8851"/>
                  </a:lnTo>
                  <a:lnTo>
                    <a:pt x="317754" y="13182"/>
                  </a:lnTo>
                  <a:lnTo>
                    <a:pt x="301142" y="14960"/>
                  </a:lnTo>
                  <a:lnTo>
                    <a:pt x="253276" y="18834"/>
                  </a:lnTo>
                  <a:lnTo>
                    <a:pt x="197256" y="23647"/>
                  </a:lnTo>
                  <a:lnTo>
                    <a:pt x="147650" y="28206"/>
                  </a:lnTo>
                  <a:lnTo>
                    <a:pt x="105029" y="32435"/>
                  </a:lnTo>
                  <a:lnTo>
                    <a:pt x="42900" y="39725"/>
                  </a:lnTo>
                  <a:lnTo>
                    <a:pt x="3340" y="75679"/>
                  </a:lnTo>
                  <a:lnTo>
                    <a:pt x="0" y="109308"/>
                  </a:lnTo>
                  <a:lnTo>
                    <a:pt x="825" y="151828"/>
                  </a:lnTo>
                  <a:lnTo>
                    <a:pt x="5346" y="201320"/>
                  </a:lnTo>
                  <a:lnTo>
                    <a:pt x="13068" y="255892"/>
                  </a:lnTo>
                  <a:lnTo>
                    <a:pt x="23507" y="313626"/>
                  </a:lnTo>
                  <a:lnTo>
                    <a:pt x="36156" y="372618"/>
                  </a:lnTo>
                  <a:lnTo>
                    <a:pt x="50558" y="430974"/>
                  </a:lnTo>
                  <a:lnTo>
                    <a:pt x="66205" y="486778"/>
                  </a:lnTo>
                  <a:lnTo>
                    <a:pt x="82613" y="538137"/>
                  </a:lnTo>
                  <a:lnTo>
                    <a:pt x="99314" y="583145"/>
                  </a:lnTo>
                  <a:lnTo>
                    <a:pt x="115785" y="619887"/>
                  </a:lnTo>
                  <a:lnTo>
                    <a:pt x="146189" y="660984"/>
                  </a:lnTo>
                  <a:lnTo>
                    <a:pt x="186182" y="667613"/>
                  </a:lnTo>
                  <a:lnTo>
                    <a:pt x="201015" y="668426"/>
                  </a:lnTo>
                  <a:lnTo>
                    <a:pt x="232168" y="674281"/>
                  </a:lnTo>
                  <a:lnTo>
                    <a:pt x="279654" y="679119"/>
                  </a:lnTo>
                  <a:lnTo>
                    <a:pt x="337693" y="682396"/>
                  </a:lnTo>
                  <a:lnTo>
                    <a:pt x="404050" y="684263"/>
                  </a:lnTo>
                  <a:lnTo>
                    <a:pt x="476529" y="684860"/>
                  </a:lnTo>
                  <a:lnTo>
                    <a:pt x="542671" y="684441"/>
                  </a:lnTo>
                  <a:lnTo>
                    <a:pt x="610285" y="683260"/>
                  </a:lnTo>
                  <a:lnTo>
                    <a:pt x="677900" y="681418"/>
                  </a:lnTo>
                  <a:lnTo>
                    <a:pt x="744054" y="678980"/>
                  </a:lnTo>
                  <a:lnTo>
                    <a:pt x="807288" y="676059"/>
                  </a:lnTo>
                  <a:lnTo>
                    <a:pt x="826820" y="674966"/>
                  </a:lnTo>
                  <a:lnTo>
                    <a:pt x="862266" y="676706"/>
                  </a:lnTo>
                  <a:lnTo>
                    <a:pt x="918883" y="678980"/>
                  </a:lnTo>
                  <a:lnTo>
                    <a:pt x="948055" y="679831"/>
                  </a:lnTo>
                  <a:lnTo>
                    <a:pt x="999223" y="686092"/>
                  </a:lnTo>
                  <a:lnTo>
                    <a:pt x="1001166" y="680834"/>
                  </a:lnTo>
                  <a:lnTo>
                    <a:pt x="1009053" y="680923"/>
                  </a:lnTo>
                  <a:lnTo>
                    <a:pt x="1017155" y="680796"/>
                  </a:lnTo>
                  <a:lnTo>
                    <a:pt x="1060437" y="686092"/>
                  </a:lnTo>
                  <a:lnTo>
                    <a:pt x="1086065" y="613702"/>
                  </a:lnTo>
                  <a:lnTo>
                    <a:pt x="1100251" y="569899"/>
                  </a:lnTo>
                  <a:lnTo>
                    <a:pt x="1115377" y="522236"/>
                  </a:lnTo>
                  <a:lnTo>
                    <a:pt x="1131468" y="471639"/>
                  </a:lnTo>
                  <a:lnTo>
                    <a:pt x="1148524" y="419049"/>
                  </a:lnTo>
                  <a:lnTo>
                    <a:pt x="1166583" y="365366"/>
                  </a:lnTo>
                  <a:lnTo>
                    <a:pt x="1185646" y="311531"/>
                  </a:lnTo>
                  <a:lnTo>
                    <a:pt x="1205738" y="258445"/>
                  </a:lnTo>
                  <a:lnTo>
                    <a:pt x="1226870" y="207048"/>
                  </a:lnTo>
                  <a:lnTo>
                    <a:pt x="1249083" y="158254"/>
                  </a:lnTo>
                  <a:lnTo>
                    <a:pt x="1272362" y="112979"/>
                  </a:lnTo>
                  <a:lnTo>
                    <a:pt x="1296746" y="72161"/>
                  </a:lnTo>
                  <a:lnTo>
                    <a:pt x="1322247" y="36715"/>
                  </a:lnTo>
                  <a:lnTo>
                    <a:pt x="1348879" y="7556"/>
                  </a:lnTo>
                  <a:close/>
                </a:path>
              </a:pathLst>
            </a:custGeom>
            <a:solidFill>
              <a:srgbClr val="23B5D7"/>
            </a:solidFill>
          </p:spPr>
          <p:txBody>
            <a:bodyPr wrap="square" lIns="0" tIns="0" rIns="0" bIns="0" rtlCol="0"/>
            <a:lstStyle/>
            <a:p>
              <a:endParaRPr/>
            </a:p>
          </p:txBody>
        </p:sp>
      </p:grpSp>
      <p:sp>
        <p:nvSpPr>
          <p:cNvPr id="13" name="object 13"/>
          <p:cNvSpPr txBox="1"/>
          <p:nvPr/>
        </p:nvSpPr>
        <p:spPr>
          <a:xfrm>
            <a:off x="1160700" y="3633429"/>
            <a:ext cx="670560" cy="314960"/>
          </a:xfrm>
          <a:prstGeom prst="rect">
            <a:avLst/>
          </a:prstGeom>
        </p:spPr>
        <p:txBody>
          <a:bodyPr vert="horz" wrap="square" lIns="0" tIns="12700" rIns="0" bIns="0" rtlCol="0">
            <a:spAutoFit/>
          </a:bodyPr>
          <a:lstStyle/>
          <a:p>
            <a:pPr>
              <a:lnSpc>
                <a:spcPct val="100000"/>
              </a:lnSpc>
              <a:spcBef>
                <a:spcPts val="100"/>
              </a:spcBef>
            </a:pPr>
            <a:r>
              <a:rPr sz="1900" spc="-10" dirty="0">
                <a:solidFill>
                  <a:srgbClr val="FFFFFF"/>
                </a:solidFill>
                <a:latin typeface="Trebuchet MS"/>
                <a:cs typeface="Trebuchet MS"/>
              </a:rPr>
              <a:t>Recall</a:t>
            </a:r>
            <a:endParaRPr sz="1900">
              <a:latin typeface="Trebuchet MS"/>
              <a:cs typeface="Trebuchet MS"/>
            </a:endParaRPr>
          </a:p>
        </p:txBody>
      </p:sp>
      <p:sp>
        <p:nvSpPr>
          <p:cNvPr id="14" name="object 14"/>
          <p:cNvSpPr txBox="1"/>
          <p:nvPr/>
        </p:nvSpPr>
        <p:spPr>
          <a:xfrm>
            <a:off x="2342494" y="3595329"/>
            <a:ext cx="755650" cy="360680"/>
          </a:xfrm>
          <a:prstGeom prst="rect">
            <a:avLst/>
          </a:prstGeom>
        </p:spPr>
        <p:txBody>
          <a:bodyPr vert="horz" wrap="square" lIns="0" tIns="12700" rIns="0" bIns="0" rtlCol="0">
            <a:spAutoFit/>
          </a:bodyPr>
          <a:lstStyle/>
          <a:p>
            <a:pPr>
              <a:lnSpc>
                <a:spcPct val="100000"/>
              </a:lnSpc>
              <a:spcBef>
                <a:spcPts val="100"/>
              </a:spcBef>
            </a:pPr>
            <a:r>
              <a:rPr sz="2200" spc="70" dirty="0">
                <a:solidFill>
                  <a:srgbClr val="FFFFFF"/>
                </a:solidFill>
                <a:latin typeface="Trebuchet MS"/>
                <a:cs typeface="Trebuchet MS"/>
              </a:rPr>
              <a:t>0</a:t>
            </a:r>
            <a:r>
              <a:rPr sz="2200" spc="-500" dirty="0">
                <a:solidFill>
                  <a:srgbClr val="FFFFFF"/>
                </a:solidFill>
                <a:latin typeface="Trebuchet MS"/>
                <a:cs typeface="Trebuchet MS"/>
              </a:rPr>
              <a:t>.</a:t>
            </a:r>
            <a:r>
              <a:rPr sz="2200" spc="-80" dirty="0">
                <a:solidFill>
                  <a:srgbClr val="FFFFFF"/>
                </a:solidFill>
                <a:latin typeface="Trebuchet MS"/>
                <a:cs typeface="Trebuchet MS"/>
              </a:rPr>
              <a:t>1254</a:t>
            </a:r>
            <a:endParaRPr sz="2200" dirty="0">
              <a:latin typeface="Trebuchet MS"/>
              <a:cs typeface="Trebuchet MS"/>
            </a:endParaRPr>
          </a:p>
        </p:txBody>
      </p:sp>
      <p:sp>
        <p:nvSpPr>
          <p:cNvPr id="15" name="object 15"/>
          <p:cNvSpPr txBox="1"/>
          <p:nvPr/>
        </p:nvSpPr>
        <p:spPr>
          <a:xfrm>
            <a:off x="5500950" y="505667"/>
            <a:ext cx="1745614" cy="421640"/>
          </a:xfrm>
          <a:prstGeom prst="rect">
            <a:avLst/>
          </a:prstGeom>
        </p:spPr>
        <p:txBody>
          <a:bodyPr vert="horz" wrap="square" lIns="0" tIns="12700" rIns="0" bIns="0" rtlCol="0">
            <a:spAutoFit/>
          </a:bodyPr>
          <a:lstStyle/>
          <a:p>
            <a:pPr marL="12700">
              <a:lnSpc>
                <a:spcPct val="100000"/>
              </a:lnSpc>
              <a:spcBef>
                <a:spcPts val="100"/>
              </a:spcBef>
            </a:pPr>
            <a:r>
              <a:rPr sz="2600" b="1" spc="-335" dirty="0">
                <a:solidFill>
                  <a:srgbClr val="F3F3F3"/>
                </a:solidFill>
                <a:latin typeface="Trebuchet MS"/>
                <a:cs typeface="Trebuchet MS"/>
              </a:rPr>
              <a:t>F</a:t>
            </a:r>
            <a:r>
              <a:rPr sz="2600" b="1" spc="-15" dirty="0">
                <a:solidFill>
                  <a:srgbClr val="F3F3F3"/>
                </a:solidFill>
                <a:latin typeface="Trebuchet MS"/>
                <a:cs typeface="Trebuchet MS"/>
              </a:rPr>
              <a:t>in</a:t>
            </a:r>
            <a:r>
              <a:rPr sz="2600" b="1" spc="-40" dirty="0">
                <a:solidFill>
                  <a:srgbClr val="F3F3F3"/>
                </a:solidFill>
                <a:latin typeface="Trebuchet MS"/>
                <a:cs typeface="Trebuchet MS"/>
              </a:rPr>
              <a:t>a</a:t>
            </a:r>
            <a:r>
              <a:rPr sz="2600" b="1" spc="5" dirty="0">
                <a:solidFill>
                  <a:srgbClr val="F3F3F3"/>
                </a:solidFill>
                <a:latin typeface="Trebuchet MS"/>
                <a:cs typeface="Trebuchet MS"/>
              </a:rPr>
              <a:t>l</a:t>
            </a:r>
            <a:r>
              <a:rPr sz="2600" b="1" spc="-170" dirty="0">
                <a:solidFill>
                  <a:srgbClr val="F3F3F3"/>
                </a:solidFill>
                <a:latin typeface="Trebuchet MS"/>
                <a:cs typeface="Trebuchet MS"/>
              </a:rPr>
              <a:t> </a:t>
            </a:r>
            <a:r>
              <a:rPr sz="2600" b="1" spc="30" dirty="0">
                <a:solidFill>
                  <a:srgbClr val="F3F3F3"/>
                </a:solidFill>
                <a:latin typeface="Trebuchet MS"/>
                <a:cs typeface="Trebuchet MS"/>
              </a:rPr>
              <a:t>Model</a:t>
            </a:r>
            <a:endParaRPr sz="2600">
              <a:latin typeface="Trebuchet MS"/>
              <a:cs typeface="Trebuchet MS"/>
            </a:endParaRPr>
          </a:p>
        </p:txBody>
      </p:sp>
      <p:sp>
        <p:nvSpPr>
          <p:cNvPr id="16" name="object 16"/>
          <p:cNvSpPr txBox="1"/>
          <p:nvPr/>
        </p:nvSpPr>
        <p:spPr>
          <a:xfrm>
            <a:off x="5500950" y="1495840"/>
            <a:ext cx="2553970" cy="605790"/>
          </a:xfrm>
          <a:prstGeom prst="rect">
            <a:avLst/>
          </a:prstGeom>
        </p:spPr>
        <p:txBody>
          <a:bodyPr vert="horz" wrap="square" lIns="0" tIns="12700" rIns="0" bIns="0" rtlCol="0">
            <a:spAutoFit/>
          </a:bodyPr>
          <a:lstStyle/>
          <a:p>
            <a:pPr marL="12700">
              <a:lnSpc>
                <a:spcPct val="100000"/>
              </a:lnSpc>
              <a:spcBef>
                <a:spcPts val="100"/>
              </a:spcBef>
            </a:pPr>
            <a:r>
              <a:rPr sz="2000" b="1" spc="-10" dirty="0">
                <a:latin typeface="Trebuchet MS"/>
                <a:cs typeface="Trebuchet MS"/>
              </a:rPr>
              <a:t>Logistic</a:t>
            </a:r>
            <a:r>
              <a:rPr sz="2000" b="1" spc="-140" dirty="0">
                <a:latin typeface="Trebuchet MS"/>
                <a:cs typeface="Trebuchet MS"/>
              </a:rPr>
              <a:t> </a:t>
            </a:r>
            <a:r>
              <a:rPr sz="2000" b="1" dirty="0">
                <a:latin typeface="Trebuchet MS"/>
                <a:cs typeface="Trebuchet MS"/>
              </a:rPr>
              <a:t>Regression</a:t>
            </a:r>
            <a:endParaRPr sz="2000">
              <a:latin typeface="Trebuchet MS"/>
              <a:cs typeface="Trebuchet MS"/>
            </a:endParaRPr>
          </a:p>
          <a:p>
            <a:pPr marL="12700">
              <a:lnSpc>
                <a:spcPct val="100000"/>
              </a:lnSpc>
              <a:spcBef>
                <a:spcPts val="5"/>
              </a:spcBef>
            </a:pPr>
            <a:r>
              <a:rPr sz="1800" spc="-15" dirty="0">
                <a:latin typeface="Trebuchet MS"/>
                <a:cs typeface="Trebuchet MS"/>
              </a:rPr>
              <a:t>with</a:t>
            </a:r>
            <a:r>
              <a:rPr sz="1800" spc="-110" dirty="0">
                <a:latin typeface="Trebuchet MS"/>
                <a:cs typeface="Trebuchet MS"/>
              </a:rPr>
              <a:t> </a:t>
            </a:r>
            <a:r>
              <a:rPr sz="1800" spc="10" dirty="0">
                <a:latin typeface="Trebuchet MS"/>
                <a:cs typeface="Trebuchet MS"/>
              </a:rPr>
              <a:t>Count</a:t>
            </a:r>
            <a:r>
              <a:rPr sz="1800" spc="-105" dirty="0">
                <a:latin typeface="Trebuchet MS"/>
                <a:cs typeface="Trebuchet MS"/>
              </a:rPr>
              <a:t> </a:t>
            </a:r>
            <a:r>
              <a:rPr sz="1800" spc="-10" dirty="0">
                <a:latin typeface="Trebuchet MS"/>
                <a:cs typeface="Trebuchet MS"/>
              </a:rPr>
              <a:t>Vectorization</a:t>
            </a:r>
            <a:endParaRPr sz="1800">
              <a:latin typeface="Trebuchet MS"/>
              <a:cs typeface="Trebuchet MS"/>
            </a:endParaRPr>
          </a:p>
        </p:txBody>
      </p:sp>
      <p:grpSp>
        <p:nvGrpSpPr>
          <p:cNvPr id="17" name="object 17"/>
          <p:cNvGrpSpPr/>
          <p:nvPr/>
        </p:nvGrpSpPr>
        <p:grpSpPr>
          <a:xfrm>
            <a:off x="5543054" y="2610071"/>
            <a:ext cx="2578008" cy="694951"/>
            <a:chOff x="5543054" y="2610071"/>
            <a:chExt cx="2578008" cy="694951"/>
          </a:xfrm>
        </p:grpSpPr>
        <p:sp>
          <p:nvSpPr>
            <p:cNvPr id="18" name="object 18"/>
            <p:cNvSpPr/>
            <p:nvPr/>
          </p:nvSpPr>
          <p:spPr>
            <a:xfrm>
              <a:off x="5554392" y="2610071"/>
              <a:ext cx="2566670" cy="693420"/>
            </a:xfrm>
            <a:custGeom>
              <a:avLst/>
              <a:gdLst/>
              <a:ahLst/>
              <a:cxnLst/>
              <a:rect l="l" t="t" r="r" b="b"/>
              <a:pathLst>
                <a:path w="2566670" h="693420">
                  <a:moveTo>
                    <a:pt x="950635" y="693319"/>
                  </a:moveTo>
                  <a:lnTo>
                    <a:pt x="873177" y="693237"/>
                  </a:lnTo>
                  <a:lnTo>
                    <a:pt x="797572" y="692988"/>
                  </a:lnTo>
                  <a:lnTo>
                    <a:pt x="724148" y="692563"/>
                  </a:lnTo>
                  <a:lnTo>
                    <a:pt x="653232" y="691955"/>
                  </a:lnTo>
                  <a:lnTo>
                    <a:pt x="585151" y="691158"/>
                  </a:lnTo>
                  <a:lnTo>
                    <a:pt x="520232" y="690163"/>
                  </a:lnTo>
                  <a:lnTo>
                    <a:pt x="458803" y="688964"/>
                  </a:lnTo>
                  <a:lnTo>
                    <a:pt x="401191" y="687554"/>
                  </a:lnTo>
                  <a:lnTo>
                    <a:pt x="347724" y="685924"/>
                  </a:lnTo>
                  <a:lnTo>
                    <a:pt x="298728" y="684069"/>
                  </a:lnTo>
                  <a:lnTo>
                    <a:pt x="254532" y="681980"/>
                  </a:lnTo>
                  <a:lnTo>
                    <a:pt x="215462" y="679651"/>
                  </a:lnTo>
                  <a:lnTo>
                    <a:pt x="154010" y="674242"/>
                  </a:lnTo>
                  <a:lnTo>
                    <a:pt x="106201" y="657461"/>
                  </a:lnTo>
                  <a:lnTo>
                    <a:pt x="79582" y="598639"/>
                  </a:lnTo>
                  <a:lnTo>
                    <a:pt x="65036" y="554275"/>
                  </a:lnTo>
                  <a:lnTo>
                    <a:pt x="50520" y="502700"/>
                  </a:lnTo>
                  <a:lnTo>
                    <a:pt x="36678" y="445981"/>
                  </a:lnTo>
                  <a:lnTo>
                    <a:pt x="24148" y="386185"/>
                  </a:lnTo>
                  <a:lnTo>
                    <a:pt x="13575" y="325382"/>
                  </a:lnTo>
                  <a:lnTo>
                    <a:pt x="5598" y="265638"/>
                  </a:lnTo>
                  <a:lnTo>
                    <a:pt x="859" y="209021"/>
                  </a:lnTo>
                  <a:lnTo>
                    <a:pt x="0" y="157600"/>
                  </a:lnTo>
                  <a:lnTo>
                    <a:pt x="3661" y="113441"/>
                  </a:lnTo>
                  <a:lnTo>
                    <a:pt x="27114" y="55184"/>
                  </a:lnTo>
                  <a:lnTo>
                    <a:pt x="67512" y="41369"/>
                  </a:lnTo>
                  <a:lnTo>
                    <a:pt x="120022" y="33384"/>
                  </a:lnTo>
                  <a:lnTo>
                    <a:pt x="190738" y="26340"/>
                  </a:lnTo>
                  <a:lnTo>
                    <a:pt x="232319" y="23162"/>
                  </a:lnTo>
                  <a:lnTo>
                    <a:pt x="277726" y="20207"/>
                  </a:lnTo>
                  <a:lnTo>
                    <a:pt x="326717" y="17472"/>
                  </a:lnTo>
                  <a:lnTo>
                    <a:pt x="379050" y="14953"/>
                  </a:lnTo>
                  <a:lnTo>
                    <a:pt x="434484" y="12645"/>
                  </a:lnTo>
                  <a:lnTo>
                    <a:pt x="492777" y="10545"/>
                  </a:lnTo>
                  <a:lnTo>
                    <a:pt x="553688" y="8648"/>
                  </a:lnTo>
                  <a:lnTo>
                    <a:pt x="616973" y="6951"/>
                  </a:lnTo>
                  <a:lnTo>
                    <a:pt x="682392" y="5449"/>
                  </a:lnTo>
                  <a:lnTo>
                    <a:pt x="749702" y="4139"/>
                  </a:lnTo>
                  <a:lnTo>
                    <a:pt x="818662" y="3017"/>
                  </a:lnTo>
                  <a:lnTo>
                    <a:pt x="889030" y="2078"/>
                  </a:lnTo>
                  <a:lnTo>
                    <a:pt x="960565" y="1319"/>
                  </a:lnTo>
                  <a:lnTo>
                    <a:pt x="1033024" y="736"/>
                  </a:lnTo>
                  <a:lnTo>
                    <a:pt x="1106165" y="324"/>
                  </a:lnTo>
                  <a:lnTo>
                    <a:pt x="1179748" y="80"/>
                  </a:lnTo>
                  <a:lnTo>
                    <a:pt x="1253529" y="0"/>
                  </a:lnTo>
                  <a:lnTo>
                    <a:pt x="1326808" y="78"/>
                  </a:lnTo>
                  <a:lnTo>
                    <a:pt x="1399808" y="310"/>
                  </a:lnTo>
                  <a:lnTo>
                    <a:pt x="1472291" y="691"/>
                  </a:lnTo>
                  <a:lnTo>
                    <a:pt x="1544020" y="1218"/>
                  </a:lnTo>
                  <a:lnTo>
                    <a:pt x="1614758" y="1888"/>
                  </a:lnTo>
                  <a:lnTo>
                    <a:pt x="1684267" y="2695"/>
                  </a:lnTo>
                  <a:lnTo>
                    <a:pt x="1752310" y="3635"/>
                  </a:lnTo>
                  <a:lnTo>
                    <a:pt x="1818650" y="4706"/>
                  </a:lnTo>
                  <a:lnTo>
                    <a:pt x="1883049" y="5903"/>
                  </a:lnTo>
                  <a:lnTo>
                    <a:pt x="1945270" y="7222"/>
                  </a:lnTo>
                  <a:lnTo>
                    <a:pt x="2005076" y="8658"/>
                  </a:lnTo>
                  <a:lnTo>
                    <a:pt x="2062229" y="10209"/>
                  </a:lnTo>
                  <a:lnTo>
                    <a:pt x="2116492" y="11870"/>
                  </a:lnTo>
                  <a:lnTo>
                    <a:pt x="2167628" y="13637"/>
                  </a:lnTo>
                  <a:lnTo>
                    <a:pt x="2215399" y="15506"/>
                  </a:lnTo>
                  <a:lnTo>
                    <a:pt x="2259569" y="17473"/>
                  </a:lnTo>
                  <a:lnTo>
                    <a:pt x="2299899" y="19535"/>
                  </a:lnTo>
                  <a:lnTo>
                    <a:pt x="2368091" y="23925"/>
                  </a:lnTo>
                  <a:lnTo>
                    <a:pt x="2418079" y="28644"/>
                  </a:lnTo>
                  <a:lnTo>
                    <a:pt x="2468877" y="53179"/>
                  </a:lnTo>
                  <a:lnTo>
                    <a:pt x="2498261" y="125848"/>
                  </a:lnTo>
                  <a:lnTo>
                    <a:pt x="2512644" y="176870"/>
                  </a:lnTo>
                  <a:lnTo>
                    <a:pt x="2526224" y="234525"/>
                  </a:lnTo>
                  <a:lnTo>
                    <a:pt x="2538553" y="296443"/>
                  </a:lnTo>
                  <a:lnTo>
                    <a:pt x="2549181" y="360255"/>
                  </a:lnTo>
                  <a:lnTo>
                    <a:pt x="2557663" y="423592"/>
                  </a:lnTo>
                  <a:lnTo>
                    <a:pt x="2563548" y="484083"/>
                  </a:lnTo>
                  <a:lnTo>
                    <a:pt x="2566389" y="539361"/>
                  </a:lnTo>
                  <a:lnTo>
                    <a:pt x="2565738" y="587056"/>
                  </a:lnTo>
                  <a:lnTo>
                    <a:pt x="2552168" y="650217"/>
                  </a:lnTo>
                  <a:lnTo>
                    <a:pt x="2511805" y="663855"/>
                  </a:lnTo>
                  <a:lnTo>
                    <a:pt x="2468220" y="666797"/>
                  </a:lnTo>
                  <a:lnTo>
                    <a:pt x="2409057" y="669739"/>
                  </a:lnTo>
                  <a:lnTo>
                    <a:pt x="2335776" y="672648"/>
                  </a:lnTo>
                  <a:lnTo>
                    <a:pt x="2294298" y="674081"/>
                  </a:lnTo>
                  <a:lnTo>
                    <a:pt x="2249837" y="675493"/>
                  </a:lnTo>
                  <a:lnTo>
                    <a:pt x="2202578" y="676881"/>
                  </a:lnTo>
                  <a:lnTo>
                    <a:pt x="2152701" y="678240"/>
                  </a:lnTo>
                  <a:lnTo>
                    <a:pt x="2100390" y="679568"/>
                  </a:lnTo>
                  <a:lnTo>
                    <a:pt x="2045828" y="680859"/>
                  </a:lnTo>
                  <a:lnTo>
                    <a:pt x="1989196" y="682109"/>
                  </a:lnTo>
                  <a:lnTo>
                    <a:pt x="1930678" y="683315"/>
                  </a:lnTo>
                  <a:lnTo>
                    <a:pt x="1870456" y="684472"/>
                  </a:lnTo>
                  <a:lnTo>
                    <a:pt x="1808712" y="685577"/>
                  </a:lnTo>
                  <a:lnTo>
                    <a:pt x="1745629" y="686625"/>
                  </a:lnTo>
                  <a:lnTo>
                    <a:pt x="1681389" y="687613"/>
                  </a:lnTo>
                  <a:lnTo>
                    <a:pt x="1616176" y="688536"/>
                  </a:lnTo>
                  <a:lnTo>
                    <a:pt x="1550171" y="689390"/>
                  </a:lnTo>
                  <a:lnTo>
                    <a:pt x="1483558" y="690172"/>
                  </a:lnTo>
                  <a:lnTo>
                    <a:pt x="1416518" y="690876"/>
                  </a:lnTo>
                  <a:lnTo>
                    <a:pt x="1349234" y="691500"/>
                  </a:lnTo>
                  <a:lnTo>
                    <a:pt x="1281889" y="692039"/>
                  </a:lnTo>
                  <a:lnTo>
                    <a:pt x="1214666" y="692489"/>
                  </a:lnTo>
                  <a:lnTo>
                    <a:pt x="1147746" y="692846"/>
                  </a:lnTo>
                  <a:lnTo>
                    <a:pt x="1081312" y="693106"/>
                  </a:lnTo>
                  <a:lnTo>
                    <a:pt x="1015548" y="693265"/>
                  </a:lnTo>
                  <a:lnTo>
                    <a:pt x="950635" y="693319"/>
                  </a:lnTo>
                  <a:close/>
                </a:path>
              </a:pathLst>
            </a:custGeom>
            <a:solidFill>
              <a:srgbClr val="7BD4E9"/>
            </a:solidFill>
          </p:spPr>
          <p:txBody>
            <a:bodyPr wrap="square" lIns="0" tIns="0" rIns="0" bIns="0" rtlCol="0"/>
            <a:lstStyle/>
            <a:p>
              <a:endParaRPr dirty="0"/>
            </a:p>
          </p:txBody>
        </p:sp>
        <p:sp>
          <p:nvSpPr>
            <p:cNvPr id="19" name="object 19"/>
            <p:cNvSpPr/>
            <p:nvPr/>
          </p:nvSpPr>
          <p:spPr>
            <a:xfrm>
              <a:off x="5543054" y="2618587"/>
              <a:ext cx="1349375" cy="686435"/>
            </a:xfrm>
            <a:custGeom>
              <a:avLst/>
              <a:gdLst/>
              <a:ahLst/>
              <a:cxnLst/>
              <a:rect l="l" t="t" r="r" b="b"/>
              <a:pathLst>
                <a:path w="1349375" h="686435">
                  <a:moveTo>
                    <a:pt x="1348879" y="7556"/>
                  </a:moveTo>
                  <a:lnTo>
                    <a:pt x="1275930" y="5435"/>
                  </a:lnTo>
                  <a:lnTo>
                    <a:pt x="1207249" y="3670"/>
                  </a:lnTo>
                  <a:lnTo>
                    <a:pt x="1143292" y="2247"/>
                  </a:lnTo>
                  <a:lnTo>
                    <a:pt x="1084491" y="1168"/>
                  </a:lnTo>
                  <a:lnTo>
                    <a:pt x="1031316" y="431"/>
                  </a:lnTo>
                  <a:lnTo>
                    <a:pt x="984199" y="50"/>
                  </a:lnTo>
                  <a:lnTo>
                    <a:pt x="943610" y="0"/>
                  </a:lnTo>
                  <a:lnTo>
                    <a:pt x="930922" y="127"/>
                  </a:lnTo>
                  <a:lnTo>
                    <a:pt x="922985" y="50"/>
                  </a:lnTo>
                  <a:lnTo>
                    <a:pt x="882396" y="0"/>
                  </a:lnTo>
                  <a:lnTo>
                    <a:pt x="822566" y="952"/>
                  </a:lnTo>
                  <a:lnTo>
                    <a:pt x="792505" y="8699"/>
                  </a:lnTo>
                  <a:lnTo>
                    <a:pt x="784326" y="8229"/>
                  </a:lnTo>
                  <a:lnTo>
                    <a:pt x="719175" y="5676"/>
                  </a:lnTo>
                  <a:lnTo>
                    <a:pt x="650722" y="4089"/>
                  </a:lnTo>
                  <a:lnTo>
                    <a:pt x="580605" y="3543"/>
                  </a:lnTo>
                  <a:lnTo>
                    <a:pt x="510895" y="4102"/>
                  </a:lnTo>
                  <a:lnTo>
                    <a:pt x="452920" y="5600"/>
                  </a:lnTo>
                  <a:lnTo>
                    <a:pt x="454406" y="3403"/>
                  </a:lnTo>
                  <a:lnTo>
                    <a:pt x="383095" y="8610"/>
                  </a:lnTo>
                  <a:lnTo>
                    <a:pt x="377863" y="8851"/>
                  </a:lnTo>
                  <a:lnTo>
                    <a:pt x="317754" y="13182"/>
                  </a:lnTo>
                  <a:lnTo>
                    <a:pt x="301155" y="14960"/>
                  </a:lnTo>
                  <a:lnTo>
                    <a:pt x="253276" y="18834"/>
                  </a:lnTo>
                  <a:lnTo>
                    <a:pt x="197243" y="23647"/>
                  </a:lnTo>
                  <a:lnTo>
                    <a:pt x="147650" y="28206"/>
                  </a:lnTo>
                  <a:lnTo>
                    <a:pt x="105029" y="32435"/>
                  </a:lnTo>
                  <a:lnTo>
                    <a:pt x="42887" y="39725"/>
                  </a:lnTo>
                  <a:lnTo>
                    <a:pt x="3327" y="75679"/>
                  </a:lnTo>
                  <a:lnTo>
                    <a:pt x="0" y="109308"/>
                  </a:lnTo>
                  <a:lnTo>
                    <a:pt x="825" y="151828"/>
                  </a:lnTo>
                  <a:lnTo>
                    <a:pt x="5346" y="201320"/>
                  </a:lnTo>
                  <a:lnTo>
                    <a:pt x="13068" y="255892"/>
                  </a:lnTo>
                  <a:lnTo>
                    <a:pt x="23495" y="313626"/>
                  </a:lnTo>
                  <a:lnTo>
                    <a:pt x="36156" y="372618"/>
                  </a:lnTo>
                  <a:lnTo>
                    <a:pt x="50558" y="430974"/>
                  </a:lnTo>
                  <a:lnTo>
                    <a:pt x="66205" y="486778"/>
                  </a:lnTo>
                  <a:lnTo>
                    <a:pt x="82613" y="538137"/>
                  </a:lnTo>
                  <a:lnTo>
                    <a:pt x="99301" y="583145"/>
                  </a:lnTo>
                  <a:lnTo>
                    <a:pt x="115785" y="619887"/>
                  </a:lnTo>
                  <a:lnTo>
                    <a:pt x="146177" y="660984"/>
                  </a:lnTo>
                  <a:lnTo>
                    <a:pt x="186182" y="667613"/>
                  </a:lnTo>
                  <a:lnTo>
                    <a:pt x="201002" y="668426"/>
                  </a:lnTo>
                  <a:lnTo>
                    <a:pt x="232168" y="674281"/>
                  </a:lnTo>
                  <a:lnTo>
                    <a:pt x="279641" y="679119"/>
                  </a:lnTo>
                  <a:lnTo>
                    <a:pt x="337680" y="682396"/>
                  </a:lnTo>
                  <a:lnTo>
                    <a:pt x="404050" y="684263"/>
                  </a:lnTo>
                  <a:lnTo>
                    <a:pt x="476516" y="684860"/>
                  </a:lnTo>
                  <a:lnTo>
                    <a:pt x="542671" y="684441"/>
                  </a:lnTo>
                  <a:lnTo>
                    <a:pt x="610285" y="683260"/>
                  </a:lnTo>
                  <a:lnTo>
                    <a:pt x="677887" y="681418"/>
                  </a:lnTo>
                  <a:lnTo>
                    <a:pt x="744042" y="678980"/>
                  </a:lnTo>
                  <a:lnTo>
                    <a:pt x="807288" y="676059"/>
                  </a:lnTo>
                  <a:lnTo>
                    <a:pt x="866152" y="672744"/>
                  </a:lnTo>
                  <a:lnTo>
                    <a:pt x="892289" y="670966"/>
                  </a:lnTo>
                  <a:lnTo>
                    <a:pt x="903516" y="673239"/>
                  </a:lnTo>
                  <a:lnTo>
                    <a:pt x="945426" y="679500"/>
                  </a:lnTo>
                  <a:lnTo>
                    <a:pt x="999223" y="686092"/>
                  </a:lnTo>
                  <a:lnTo>
                    <a:pt x="1001915" y="678802"/>
                  </a:lnTo>
                  <a:lnTo>
                    <a:pt x="1006640" y="679500"/>
                  </a:lnTo>
                  <a:lnTo>
                    <a:pt x="1060437" y="686092"/>
                  </a:lnTo>
                  <a:lnTo>
                    <a:pt x="1086065" y="613702"/>
                  </a:lnTo>
                  <a:lnTo>
                    <a:pt x="1100251" y="569899"/>
                  </a:lnTo>
                  <a:lnTo>
                    <a:pt x="1115377" y="522236"/>
                  </a:lnTo>
                  <a:lnTo>
                    <a:pt x="1131468" y="471639"/>
                  </a:lnTo>
                  <a:lnTo>
                    <a:pt x="1148524" y="419049"/>
                  </a:lnTo>
                  <a:lnTo>
                    <a:pt x="1166583" y="365366"/>
                  </a:lnTo>
                  <a:lnTo>
                    <a:pt x="1185646" y="311531"/>
                  </a:lnTo>
                  <a:lnTo>
                    <a:pt x="1205738" y="258445"/>
                  </a:lnTo>
                  <a:lnTo>
                    <a:pt x="1226870" y="207048"/>
                  </a:lnTo>
                  <a:lnTo>
                    <a:pt x="1249070" y="158254"/>
                  </a:lnTo>
                  <a:lnTo>
                    <a:pt x="1272362" y="112979"/>
                  </a:lnTo>
                  <a:lnTo>
                    <a:pt x="1296746" y="72161"/>
                  </a:lnTo>
                  <a:lnTo>
                    <a:pt x="1322235" y="36715"/>
                  </a:lnTo>
                  <a:lnTo>
                    <a:pt x="1348879" y="7556"/>
                  </a:lnTo>
                  <a:close/>
                </a:path>
              </a:pathLst>
            </a:custGeom>
            <a:solidFill>
              <a:srgbClr val="1C8DA9"/>
            </a:solidFill>
          </p:spPr>
          <p:txBody>
            <a:bodyPr wrap="square" lIns="0" tIns="0" rIns="0" bIns="0" rtlCol="0"/>
            <a:lstStyle/>
            <a:p>
              <a:endParaRPr/>
            </a:p>
          </p:txBody>
        </p:sp>
      </p:grpSp>
      <p:sp>
        <p:nvSpPr>
          <p:cNvPr id="20" name="object 20"/>
          <p:cNvSpPr txBox="1"/>
          <p:nvPr/>
        </p:nvSpPr>
        <p:spPr>
          <a:xfrm>
            <a:off x="5739024" y="2795662"/>
            <a:ext cx="870585" cy="299720"/>
          </a:xfrm>
          <a:prstGeom prst="rect">
            <a:avLst/>
          </a:prstGeom>
        </p:spPr>
        <p:txBody>
          <a:bodyPr vert="horz" wrap="square" lIns="0" tIns="12700" rIns="0" bIns="0" rtlCol="0">
            <a:spAutoFit/>
          </a:bodyPr>
          <a:lstStyle/>
          <a:p>
            <a:pPr marL="12700">
              <a:lnSpc>
                <a:spcPct val="100000"/>
              </a:lnSpc>
              <a:spcBef>
                <a:spcPts val="100"/>
              </a:spcBef>
            </a:pPr>
            <a:r>
              <a:rPr sz="1800" b="1" spc="-229" dirty="0">
                <a:solidFill>
                  <a:srgbClr val="FFFFFF"/>
                </a:solidFill>
                <a:latin typeface="Trebuchet MS"/>
                <a:cs typeface="Trebuchet MS"/>
              </a:rPr>
              <a:t>F</a:t>
            </a:r>
            <a:r>
              <a:rPr sz="1800" b="1" spc="-220" dirty="0">
                <a:solidFill>
                  <a:srgbClr val="FFFFFF"/>
                </a:solidFill>
                <a:latin typeface="Trebuchet MS"/>
                <a:cs typeface="Trebuchet MS"/>
              </a:rPr>
              <a:t>1</a:t>
            </a:r>
            <a:r>
              <a:rPr sz="1800" b="1" spc="-120" dirty="0">
                <a:solidFill>
                  <a:srgbClr val="FFFFFF"/>
                </a:solidFill>
                <a:latin typeface="Trebuchet MS"/>
                <a:cs typeface="Trebuchet MS"/>
              </a:rPr>
              <a:t> </a:t>
            </a:r>
            <a:r>
              <a:rPr sz="1800" b="1" spc="25" dirty="0">
                <a:solidFill>
                  <a:srgbClr val="FFFFFF"/>
                </a:solidFill>
                <a:latin typeface="Trebuchet MS"/>
                <a:cs typeface="Trebuchet MS"/>
              </a:rPr>
              <a:t>S</a:t>
            </a:r>
            <a:r>
              <a:rPr sz="1800" b="1" spc="-10" dirty="0">
                <a:solidFill>
                  <a:srgbClr val="FFFFFF"/>
                </a:solidFill>
                <a:latin typeface="Trebuchet MS"/>
                <a:cs typeface="Trebuchet MS"/>
              </a:rPr>
              <a:t>co</a:t>
            </a:r>
            <a:r>
              <a:rPr sz="1800" b="1" spc="-65" dirty="0">
                <a:solidFill>
                  <a:srgbClr val="FFFFFF"/>
                </a:solidFill>
                <a:latin typeface="Trebuchet MS"/>
                <a:cs typeface="Trebuchet MS"/>
              </a:rPr>
              <a:t>r</a:t>
            </a:r>
            <a:r>
              <a:rPr sz="1800" b="1" spc="-45" dirty="0">
                <a:solidFill>
                  <a:srgbClr val="FFFFFF"/>
                </a:solidFill>
                <a:latin typeface="Trebuchet MS"/>
                <a:cs typeface="Trebuchet MS"/>
              </a:rPr>
              <a:t>e</a:t>
            </a:r>
            <a:endParaRPr sz="1800" dirty="0">
              <a:latin typeface="Trebuchet MS"/>
              <a:cs typeface="Trebuchet MS"/>
            </a:endParaRPr>
          </a:p>
        </p:txBody>
      </p:sp>
      <p:sp>
        <p:nvSpPr>
          <p:cNvPr id="21" name="object 21"/>
          <p:cNvSpPr txBox="1"/>
          <p:nvPr/>
        </p:nvSpPr>
        <p:spPr>
          <a:xfrm>
            <a:off x="6963175" y="2757562"/>
            <a:ext cx="833119" cy="345440"/>
          </a:xfrm>
          <a:prstGeom prst="rect">
            <a:avLst/>
          </a:prstGeom>
        </p:spPr>
        <p:txBody>
          <a:bodyPr vert="horz" wrap="square" lIns="0" tIns="12700" rIns="0" bIns="0" rtlCol="0">
            <a:spAutoFit/>
          </a:bodyPr>
          <a:lstStyle/>
          <a:p>
            <a:pPr marL="12700">
              <a:lnSpc>
                <a:spcPct val="100000"/>
              </a:lnSpc>
              <a:spcBef>
                <a:spcPts val="100"/>
              </a:spcBef>
            </a:pPr>
            <a:r>
              <a:rPr sz="2100" b="1" spc="-100" dirty="0">
                <a:solidFill>
                  <a:srgbClr val="FFFFFF"/>
                </a:solidFill>
                <a:latin typeface="Trebuchet MS"/>
                <a:cs typeface="Trebuchet MS"/>
              </a:rPr>
              <a:t>0.3958</a:t>
            </a:r>
            <a:endParaRPr sz="2100" dirty="0">
              <a:latin typeface="Trebuchet MS"/>
              <a:cs typeface="Trebuchet MS"/>
            </a:endParaRPr>
          </a:p>
        </p:txBody>
      </p:sp>
      <p:grpSp>
        <p:nvGrpSpPr>
          <p:cNvPr id="22" name="object 22"/>
          <p:cNvGrpSpPr/>
          <p:nvPr/>
        </p:nvGrpSpPr>
        <p:grpSpPr>
          <a:xfrm>
            <a:off x="5543055" y="3448271"/>
            <a:ext cx="2578100" cy="694690"/>
            <a:chOff x="5543055" y="3448271"/>
            <a:chExt cx="2578100" cy="694690"/>
          </a:xfrm>
        </p:grpSpPr>
        <p:sp>
          <p:nvSpPr>
            <p:cNvPr id="23" name="object 23"/>
            <p:cNvSpPr/>
            <p:nvPr/>
          </p:nvSpPr>
          <p:spPr>
            <a:xfrm>
              <a:off x="5554392" y="3448271"/>
              <a:ext cx="2566670" cy="693420"/>
            </a:xfrm>
            <a:custGeom>
              <a:avLst/>
              <a:gdLst/>
              <a:ahLst/>
              <a:cxnLst/>
              <a:rect l="l" t="t" r="r" b="b"/>
              <a:pathLst>
                <a:path w="2566670" h="693420">
                  <a:moveTo>
                    <a:pt x="950635" y="693319"/>
                  </a:moveTo>
                  <a:lnTo>
                    <a:pt x="873177" y="693237"/>
                  </a:lnTo>
                  <a:lnTo>
                    <a:pt x="797572" y="692988"/>
                  </a:lnTo>
                  <a:lnTo>
                    <a:pt x="724148" y="692563"/>
                  </a:lnTo>
                  <a:lnTo>
                    <a:pt x="653232" y="691955"/>
                  </a:lnTo>
                  <a:lnTo>
                    <a:pt x="585151" y="691158"/>
                  </a:lnTo>
                  <a:lnTo>
                    <a:pt x="520232" y="690163"/>
                  </a:lnTo>
                  <a:lnTo>
                    <a:pt x="458803" y="688964"/>
                  </a:lnTo>
                  <a:lnTo>
                    <a:pt x="401191" y="687554"/>
                  </a:lnTo>
                  <a:lnTo>
                    <a:pt x="347724" y="685924"/>
                  </a:lnTo>
                  <a:lnTo>
                    <a:pt x="298728" y="684069"/>
                  </a:lnTo>
                  <a:lnTo>
                    <a:pt x="254532" y="681980"/>
                  </a:lnTo>
                  <a:lnTo>
                    <a:pt x="215462" y="679651"/>
                  </a:lnTo>
                  <a:lnTo>
                    <a:pt x="154010" y="674242"/>
                  </a:lnTo>
                  <a:lnTo>
                    <a:pt x="106201" y="657461"/>
                  </a:lnTo>
                  <a:lnTo>
                    <a:pt x="79582" y="598639"/>
                  </a:lnTo>
                  <a:lnTo>
                    <a:pt x="65036" y="554275"/>
                  </a:lnTo>
                  <a:lnTo>
                    <a:pt x="50520" y="502700"/>
                  </a:lnTo>
                  <a:lnTo>
                    <a:pt x="36678" y="445981"/>
                  </a:lnTo>
                  <a:lnTo>
                    <a:pt x="24148" y="386185"/>
                  </a:lnTo>
                  <a:lnTo>
                    <a:pt x="13575" y="325382"/>
                  </a:lnTo>
                  <a:lnTo>
                    <a:pt x="5598" y="265638"/>
                  </a:lnTo>
                  <a:lnTo>
                    <a:pt x="859" y="209021"/>
                  </a:lnTo>
                  <a:lnTo>
                    <a:pt x="0" y="157600"/>
                  </a:lnTo>
                  <a:lnTo>
                    <a:pt x="3661" y="113441"/>
                  </a:lnTo>
                  <a:lnTo>
                    <a:pt x="27114" y="55184"/>
                  </a:lnTo>
                  <a:lnTo>
                    <a:pt x="67512" y="41369"/>
                  </a:lnTo>
                  <a:lnTo>
                    <a:pt x="120022" y="33383"/>
                  </a:lnTo>
                  <a:lnTo>
                    <a:pt x="190738" y="26340"/>
                  </a:lnTo>
                  <a:lnTo>
                    <a:pt x="232319" y="23162"/>
                  </a:lnTo>
                  <a:lnTo>
                    <a:pt x="277726" y="20207"/>
                  </a:lnTo>
                  <a:lnTo>
                    <a:pt x="326717" y="17472"/>
                  </a:lnTo>
                  <a:lnTo>
                    <a:pt x="379050" y="14953"/>
                  </a:lnTo>
                  <a:lnTo>
                    <a:pt x="434484" y="12645"/>
                  </a:lnTo>
                  <a:lnTo>
                    <a:pt x="492777" y="10544"/>
                  </a:lnTo>
                  <a:lnTo>
                    <a:pt x="553688" y="8648"/>
                  </a:lnTo>
                  <a:lnTo>
                    <a:pt x="616973" y="6951"/>
                  </a:lnTo>
                  <a:lnTo>
                    <a:pt x="682392" y="5449"/>
                  </a:lnTo>
                  <a:lnTo>
                    <a:pt x="749702" y="4139"/>
                  </a:lnTo>
                  <a:lnTo>
                    <a:pt x="818662" y="3017"/>
                  </a:lnTo>
                  <a:lnTo>
                    <a:pt x="889030" y="2078"/>
                  </a:lnTo>
                  <a:lnTo>
                    <a:pt x="960565" y="1319"/>
                  </a:lnTo>
                  <a:lnTo>
                    <a:pt x="1033024" y="736"/>
                  </a:lnTo>
                  <a:lnTo>
                    <a:pt x="1106165" y="324"/>
                  </a:lnTo>
                  <a:lnTo>
                    <a:pt x="1179748" y="80"/>
                  </a:lnTo>
                  <a:lnTo>
                    <a:pt x="1253529" y="0"/>
                  </a:lnTo>
                  <a:lnTo>
                    <a:pt x="1326808" y="78"/>
                  </a:lnTo>
                  <a:lnTo>
                    <a:pt x="1399808" y="310"/>
                  </a:lnTo>
                  <a:lnTo>
                    <a:pt x="1472291" y="691"/>
                  </a:lnTo>
                  <a:lnTo>
                    <a:pt x="1544020" y="1218"/>
                  </a:lnTo>
                  <a:lnTo>
                    <a:pt x="1614758" y="1888"/>
                  </a:lnTo>
                  <a:lnTo>
                    <a:pt x="1684267" y="2695"/>
                  </a:lnTo>
                  <a:lnTo>
                    <a:pt x="1752310" y="3636"/>
                  </a:lnTo>
                  <a:lnTo>
                    <a:pt x="1818650" y="4706"/>
                  </a:lnTo>
                  <a:lnTo>
                    <a:pt x="1883049" y="5903"/>
                  </a:lnTo>
                  <a:lnTo>
                    <a:pt x="1945270" y="7222"/>
                  </a:lnTo>
                  <a:lnTo>
                    <a:pt x="2005076" y="8658"/>
                  </a:lnTo>
                  <a:lnTo>
                    <a:pt x="2062229" y="10209"/>
                  </a:lnTo>
                  <a:lnTo>
                    <a:pt x="2116492" y="11870"/>
                  </a:lnTo>
                  <a:lnTo>
                    <a:pt x="2167628" y="13637"/>
                  </a:lnTo>
                  <a:lnTo>
                    <a:pt x="2215399" y="15506"/>
                  </a:lnTo>
                  <a:lnTo>
                    <a:pt x="2259569" y="17473"/>
                  </a:lnTo>
                  <a:lnTo>
                    <a:pt x="2299899" y="19535"/>
                  </a:lnTo>
                  <a:lnTo>
                    <a:pt x="2368091" y="23925"/>
                  </a:lnTo>
                  <a:lnTo>
                    <a:pt x="2418079" y="28644"/>
                  </a:lnTo>
                  <a:lnTo>
                    <a:pt x="2468877" y="53179"/>
                  </a:lnTo>
                  <a:lnTo>
                    <a:pt x="2498261" y="125848"/>
                  </a:lnTo>
                  <a:lnTo>
                    <a:pt x="2512644" y="176870"/>
                  </a:lnTo>
                  <a:lnTo>
                    <a:pt x="2526224" y="234525"/>
                  </a:lnTo>
                  <a:lnTo>
                    <a:pt x="2538553" y="296443"/>
                  </a:lnTo>
                  <a:lnTo>
                    <a:pt x="2549181" y="360255"/>
                  </a:lnTo>
                  <a:lnTo>
                    <a:pt x="2557663" y="423592"/>
                  </a:lnTo>
                  <a:lnTo>
                    <a:pt x="2563548" y="484084"/>
                  </a:lnTo>
                  <a:lnTo>
                    <a:pt x="2566389" y="539361"/>
                  </a:lnTo>
                  <a:lnTo>
                    <a:pt x="2565738" y="587056"/>
                  </a:lnTo>
                  <a:lnTo>
                    <a:pt x="2552168" y="650217"/>
                  </a:lnTo>
                  <a:lnTo>
                    <a:pt x="2511805" y="663855"/>
                  </a:lnTo>
                  <a:lnTo>
                    <a:pt x="2468220" y="666797"/>
                  </a:lnTo>
                  <a:lnTo>
                    <a:pt x="2409057" y="669739"/>
                  </a:lnTo>
                  <a:lnTo>
                    <a:pt x="2335776" y="672648"/>
                  </a:lnTo>
                  <a:lnTo>
                    <a:pt x="2294298" y="674081"/>
                  </a:lnTo>
                  <a:lnTo>
                    <a:pt x="2249837" y="675493"/>
                  </a:lnTo>
                  <a:lnTo>
                    <a:pt x="2202578" y="676881"/>
                  </a:lnTo>
                  <a:lnTo>
                    <a:pt x="2152701" y="678240"/>
                  </a:lnTo>
                  <a:lnTo>
                    <a:pt x="2100390" y="679568"/>
                  </a:lnTo>
                  <a:lnTo>
                    <a:pt x="2045828" y="680859"/>
                  </a:lnTo>
                  <a:lnTo>
                    <a:pt x="1989196" y="682109"/>
                  </a:lnTo>
                  <a:lnTo>
                    <a:pt x="1930678" y="683315"/>
                  </a:lnTo>
                  <a:lnTo>
                    <a:pt x="1870456" y="684472"/>
                  </a:lnTo>
                  <a:lnTo>
                    <a:pt x="1808712" y="685577"/>
                  </a:lnTo>
                  <a:lnTo>
                    <a:pt x="1745629" y="686625"/>
                  </a:lnTo>
                  <a:lnTo>
                    <a:pt x="1681389" y="687613"/>
                  </a:lnTo>
                  <a:lnTo>
                    <a:pt x="1616176" y="688536"/>
                  </a:lnTo>
                  <a:lnTo>
                    <a:pt x="1550171" y="689390"/>
                  </a:lnTo>
                  <a:lnTo>
                    <a:pt x="1483558" y="690172"/>
                  </a:lnTo>
                  <a:lnTo>
                    <a:pt x="1416518" y="690876"/>
                  </a:lnTo>
                  <a:lnTo>
                    <a:pt x="1349234" y="691500"/>
                  </a:lnTo>
                  <a:lnTo>
                    <a:pt x="1281889" y="692039"/>
                  </a:lnTo>
                  <a:lnTo>
                    <a:pt x="1214666" y="692489"/>
                  </a:lnTo>
                  <a:lnTo>
                    <a:pt x="1147746" y="692846"/>
                  </a:lnTo>
                  <a:lnTo>
                    <a:pt x="1081312" y="693106"/>
                  </a:lnTo>
                  <a:lnTo>
                    <a:pt x="1015548" y="693265"/>
                  </a:lnTo>
                  <a:lnTo>
                    <a:pt x="950635" y="693319"/>
                  </a:lnTo>
                  <a:close/>
                </a:path>
              </a:pathLst>
            </a:custGeom>
            <a:solidFill>
              <a:srgbClr val="7BD4E9"/>
            </a:solidFill>
          </p:spPr>
          <p:txBody>
            <a:bodyPr wrap="square" lIns="0" tIns="0" rIns="0" bIns="0" rtlCol="0"/>
            <a:lstStyle/>
            <a:p>
              <a:endParaRPr/>
            </a:p>
          </p:txBody>
        </p:sp>
        <p:sp>
          <p:nvSpPr>
            <p:cNvPr id="24" name="object 24"/>
            <p:cNvSpPr/>
            <p:nvPr/>
          </p:nvSpPr>
          <p:spPr>
            <a:xfrm>
              <a:off x="5543054" y="3456787"/>
              <a:ext cx="1349375" cy="686435"/>
            </a:xfrm>
            <a:custGeom>
              <a:avLst/>
              <a:gdLst/>
              <a:ahLst/>
              <a:cxnLst/>
              <a:rect l="l" t="t" r="r" b="b"/>
              <a:pathLst>
                <a:path w="1349375" h="686435">
                  <a:moveTo>
                    <a:pt x="1348879" y="7556"/>
                  </a:moveTo>
                  <a:lnTo>
                    <a:pt x="1275930" y="5435"/>
                  </a:lnTo>
                  <a:lnTo>
                    <a:pt x="1207249" y="3670"/>
                  </a:lnTo>
                  <a:lnTo>
                    <a:pt x="1143292" y="2247"/>
                  </a:lnTo>
                  <a:lnTo>
                    <a:pt x="1084491" y="1168"/>
                  </a:lnTo>
                  <a:lnTo>
                    <a:pt x="1031316" y="431"/>
                  </a:lnTo>
                  <a:lnTo>
                    <a:pt x="984199" y="50"/>
                  </a:lnTo>
                  <a:lnTo>
                    <a:pt x="943610" y="0"/>
                  </a:lnTo>
                  <a:lnTo>
                    <a:pt x="930922" y="127"/>
                  </a:lnTo>
                  <a:lnTo>
                    <a:pt x="922985" y="50"/>
                  </a:lnTo>
                  <a:lnTo>
                    <a:pt x="882396" y="0"/>
                  </a:lnTo>
                  <a:lnTo>
                    <a:pt x="822566" y="952"/>
                  </a:lnTo>
                  <a:lnTo>
                    <a:pt x="792505" y="8699"/>
                  </a:lnTo>
                  <a:lnTo>
                    <a:pt x="784326" y="8229"/>
                  </a:lnTo>
                  <a:lnTo>
                    <a:pt x="719175" y="5676"/>
                  </a:lnTo>
                  <a:lnTo>
                    <a:pt x="650722" y="4089"/>
                  </a:lnTo>
                  <a:lnTo>
                    <a:pt x="580605" y="3543"/>
                  </a:lnTo>
                  <a:lnTo>
                    <a:pt x="510895" y="4102"/>
                  </a:lnTo>
                  <a:lnTo>
                    <a:pt x="452920" y="5600"/>
                  </a:lnTo>
                  <a:lnTo>
                    <a:pt x="454406" y="3403"/>
                  </a:lnTo>
                  <a:lnTo>
                    <a:pt x="383095" y="8610"/>
                  </a:lnTo>
                  <a:lnTo>
                    <a:pt x="377863" y="8851"/>
                  </a:lnTo>
                  <a:lnTo>
                    <a:pt x="317754" y="13182"/>
                  </a:lnTo>
                  <a:lnTo>
                    <a:pt x="301155" y="14960"/>
                  </a:lnTo>
                  <a:lnTo>
                    <a:pt x="253276" y="18834"/>
                  </a:lnTo>
                  <a:lnTo>
                    <a:pt x="197243" y="23647"/>
                  </a:lnTo>
                  <a:lnTo>
                    <a:pt x="147650" y="28206"/>
                  </a:lnTo>
                  <a:lnTo>
                    <a:pt x="105029" y="32435"/>
                  </a:lnTo>
                  <a:lnTo>
                    <a:pt x="42887" y="39725"/>
                  </a:lnTo>
                  <a:lnTo>
                    <a:pt x="3327" y="75679"/>
                  </a:lnTo>
                  <a:lnTo>
                    <a:pt x="0" y="109308"/>
                  </a:lnTo>
                  <a:lnTo>
                    <a:pt x="825" y="151828"/>
                  </a:lnTo>
                  <a:lnTo>
                    <a:pt x="5346" y="201320"/>
                  </a:lnTo>
                  <a:lnTo>
                    <a:pt x="13068" y="255892"/>
                  </a:lnTo>
                  <a:lnTo>
                    <a:pt x="23495" y="313626"/>
                  </a:lnTo>
                  <a:lnTo>
                    <a:pt x="36156" y="372618"/>
                  </a:lnTo>
                  <a:lnTo>
                    <a:pt x="50558" y="430974"/>
                  </a:lnTo>
                  <a:lnTo>
                    <a:pt x="66205" y="486778"/>
                  </a:lnTo>
                  <a:lnTo>
                    <a:pt x="82613" y="538137"/>
                  </a:lnTo>
                  <a:lnTo>
                    <a:pt x="99301" y="583145"/>
                  </a:lnTo>
                  <a:lnTo>
                    <a:pt x="115785" y="619887"/>
                  </a:lnTo>
                  <a:lnTo>
                    <a:pt x="146177" y="660984"/>
                  </a:lnTo>
                  <a:lnTo>
                    <a:pt x="186182" y="667613"/>
                  </a:lnTo>
                  <a:lnTo>
                    <a:pt x="201002" y="668426"/>
                  </a:lnTo>
                  <a:lnTo>
                    <a:pt x="232168" y="674281"/>
                  </a:lnTo>
                  <a:lnTo>
                    <a:pt x="279641" y="679119"/>
                  </a:lnTo>
                  <a:lnTo>
                    <a:pt x="337680" y="682396"/>
                  </a:lnTo>
                  <a:lnTo>
                    <a:pt x="404050" y="684263"/>
                  </a:lnTo>
                  <a:lnTo>
                    <a:pt x="476516" y="684860"/>
                  </a:lnTo>
                  <a:lnTo>
                    <a:pt x="542671" y="684441"/>
                  </a:lnTo>
                  <a:lnTo>
                    <a:pt x="610285" y="683260"/>
                  </a:lnTo>
                  <a:lnTo>
                    <a:pt x="677887" y="681418"/>
                  </a:lnTo>
                  <a:lnTo>
                    <a:pt x="744042" y="678980"/>
                  </a:lnTo>
                  <a:lnTo>
                    <a:pt x="807288" y="676059"/>
                  </a:lnTo>
                  <a:lnTo>
                    <a:pt x="866152" y="672744"/>
                  </a:lnTo>
                  <a:lnTo>
                    <a:pt x="892289" y="670966"/>
                  </a:lnTo>
                  <a:lnTo>
                    <a:pt x="903516" y="673239"/>
                  </a:lnTo>
                  <a:lnTo>
                    <a:pt x="945426" y="679500"/>
                  </a:lnTo>
                  <a:lnTo>
                    <a:pt x="999223" y="686092"/>
                  </a:lnTo>
                  <a:lnTo>
                    <a:pt x="1001915" y="678802"/>
                  </a:lnTo>
                  <a:lnTo>
                    <a:pt x="1006640" y="679500"/>
                  </a:lnTo>
                  <a:lnTo>
                    <a:pt x="1060437" y="686092"/>
                  </a:lnTo>
                  <a:lnTo>
                    <a:pt x="1086065" y="613702"/>
                  </a:lnTo>
                  <a:lnTo>
                    <a:pt x="1100251" y="569899"/>
                  </a:lnTo>
                  <a:lnTo>
                    <a:pt x="1115377" y="522236"/>
                  </a:lnTo>
                  <a:lnTo>
                    <a:pt x="1131468" y="471639"/>
                  </a:lnTo>
                  <a:lnTo>
                    <a:pt x="1148524" y="419049"/>
                  </a:lnTo>
                  <a:lnTo>
                    <a:pt x="1166583" y="365366"/>
                  </a:lnTo>
                  <a:lnTo>
                    <a:pt x="1185646" y="311531"/>
                  </a:lnTo>
                  <a:lnTo>
                    <a:pt x="1205738" y="258445"/>
                  </a:lnTo>
                  <a:lnTo>
                    <a:pt x="1226870" y="207048"/>
                  </a:lnTo>
                  <a:lnTo>
                    <a:pt x="1249070" y="158254"/>
                  </a:lnTo>
                  <a:lnTo>
                    <a:pt x="1272362" y="112979"/>
                  </a:lnTo>
                  <a:lnTo>
                    <a:pt x="1296746" y="72161"/>
                  </a:lnTo>
                  <a:lnTo>
                    <a:pt x="1322235" y="36715"/>
                  </a:lnTo>
                  <a:lnTo>
                    <a:pt x="1348879" y="7556"/>
                  </a:lnTo>
                  <a:close/>
                </a:path>
              </a:pathLst>
            </a:custGeom>
            <a:solidFill>
              <a:srgbClr val="1C8DA9"/>
            </a:solidFill>
          </p:spPr>
          <p:txBody>
            <a:bodyPr wrap="square" lIns="0" tIns="0" rIns="0" bIns="0" rtlCol="0"/>
            <a:lstStyle/>
            <a:p>
              <a:endParaRPr/>
            </a:p>
          </p:txBody>
        </p:sp>
      </p:grpSp>
      <p:sp>
        <p:nvSpPr>
          <p:cNvPr id="25" name="object 25"/>
          <p:cNvSpPr txBox="1"/>
          <p:nvPr/>
        </p:nvSpPr>
        <p:spPr>
          <a:xfrm>
            <a:off x="5796212" y="3633354"/>
            <a:ext cx="690880" cy="314960"/>
          </a:xfrm>
          <a:prstGeom prst="rect">
            <a:avLst/>
          </a:prstGeom>
        </p:spPr>
        <p:txBody>
          <a:bodyPr vert="horz" wrap="square" lIns="0" tIns="12700" rIns="0" bIns="0" rtlCol="0">
            <a:spAutoFit/>
          </a:bodyPr>
          <a:lstStyle/>
          <a:p>
            <a:pPr marL="12700">
              <a:lnSpc>
                <a:spcPct val="100000"/>
              </a:lnSpc>
              <a:spcBef>
                <a:spcPts val="100"/>
              </a:spcBef>
            </a:pPr>
            <a:r>
              <a:rPr sz="1900" b="1" spc="-20" dirty="0">
                <a:solidFill>
                  <a:srgbClr val="FFFFFF"/>
                </a:solidFill>
                <a:latin typeface="Trebuchet MS"/>
                <a:cs typeface="Trebuchet MS"/>
              </a:rPr>
              <a:t>R</a:t>
            </a:r>
            <a:r>
              <a:rPr sz="1900" b="1" spc="-60" dirty="0">
                <a:solidFill>
                  <a:srgbClr val="FFFFFF"/>
                </a:solidFill>
                <a:latin typeface="Trebuchet MS"/>
                <a:cs typeface="Trebuchet MS"/>
              </a:rPr>
              <a:t>e</a:t>
            </a:r>
            <a:r>
              <a:rPr sz="1900" b="1" spc="-70" dirty="0">
                <a:solidFill>
                  <a:srgbClr val="FFFFFF"/>
                </a:solidFill>
                <a:latin typeface="Trebuchet MS"/>
                <a:cs typeface="Trebuchet MS"/>
              </a:rPr>
              <a:t>c</a:t>
            </a:r>
            <a:r>
              <a:rPr sz="1900" b="1" spc="5" dirty="0">
                <a:solidFill>
                  <a:srgbClr val="FFFFFF"/>
                </a:solidFill>
                <a:latin typeface="Trebuchet MS"/>
                <a:cs typeface="Trebuchet MS"/>
              </a:rPr>
              <a:t>a</a:t>
            </a:r>
            <a:r>
              <a:rPr sz="1900" b="1" dirty="0">
                <a:solidFill>
                  <a:srgbClr val="FFFFFF"/>
                </a:solidFill>
                <a:latin typeface="Trebuchet MS"/>
                <a:cs typeface="Trebuchet MS"/>
              </a:rPr>
              <a:t>ll</a:t>
            </a:r>
            <a:endParaRPr sz="1900">
              <a:latin typeface="Trebuchet MS"/>
              <a:cs typeface="Trebuchet MS"/>
            </a:endParaRPr>
          </a:p>
        </p:txBody>
      </p:sp>
      <p:sp>
        <p:nvSpPr>
          <p:cNvPr id="26" name="object 26"/>
          <p:cNvSpPr txBox="1"/>
          <p:nvPr/>
        </p:nvSpPr>
        <p:spPr>
          <a:xfrm>
            <a:off x="7020640" y="3595254"/>
            <a:ext cx="701675" cy="360680"/>
          </a:xfrm>
          <a:prstGeom prst="rect">
            <a:avLst/>
          </a:prstGeom>
        </p:spPr>
        <p:txBody>
          <a:bodyPr vert="horz" wrap="square" lIns="0" tIns="12700" rIns="0" bIns="0" rtlCol="0">
            <a:spAutoFit/>
          </a:bodyPr>
          <a:lstStyle/>
          <a:p>
            <a:pPr marL="12700">
              <a:lnSpc>
                <a:spcPct val="100000"/>
              </a:lnSpc>
              <a:spcBef>
                <a:spcPts val="100"/>
              </a:spcBef>
            </a:pPr>
            <a:r>
              <a:rPr sz="2200" b="1" spc="-175" dirty="0">
                <a:solidFill>
                  <a:srgbClr val="FFFFFF"/>
                </a:solidFill>
                <a:latin typeface="Trebuchet MS"/>
                <a:cs typeface="Trebuchet MS"/>
              </a:rPr>
              <a:t>0</a:t>
            </a:r>
            <a:r>
              <a:rPr sz="2200" b="1" spc="-135" dirty="0">
                <a:solidFill>
                  <a:srgbClr val="FFFFFF"/>
                </a:solidFill>
                <a:latin typeface="Trebuchet MS"/>
                <a:cs typeface="Trebuchet MS"/>
              </a:rPr>
              <a:t>.</a:t>
            </a:r>
            <a:r>
              <a:rPr sz="2200" b="1" spc="-80" dirty="0">
                <a:solidFill>
                  <a:srgbClr val="FFFFFF"/>
                </a:solidFill>
                <a:latin typeface="Trebuchet MS"/>
                <a:cs typeface="Trebuchet MS"/>
              </a:rPr>
              <a:t>6</a:t>
            </a:r>
            <a:r>
              <a:rPr sz="2200" b="1" spc="-220" dirty="0">
                <a:solidFill>
                  <a:srgbClr val="FFFFFF"/>
                </a:solidFill>
                <a:latin typeface="Trebuchet MS"/>
                <a:cs typeface="Trebuchet MS"/>
              </a:rPr>
              <a:t>2</a:t>
            </a:r>
            <a:r>
              <a:rPr sz="2200" b="1" spc="-50" dirty="0">
                <a:solidFill>
                  <a:srgbClr val="FFFFFF"/>
                </a:solidFill>
                <a:latin typeface="Trebuchet MS"/>
                <a:cs typeface="Trebuchet MS"/>
              </a:rPr>
              <a:t>4</a:t>
            </a:r>
            <a:endParaRPr sz="2200">
              <a:latin typeface="Trebuchet MS"/>
              <a:cs typeface="Trebuchet MS"/>
            </a:endParaRPr>
          </a:p>
        </p:txBody>
      </p:sp>
      <p:grpSp>
        <p:nvGrpSpPr>
          <p:cNvPr id="27" name="object 27"/>
          <p:cNvGrpSpPr/>
          <p:nvPr/>
        </p:nvGrpSpPr>
        <p:grpSpPr>
          <a:xfrm>
            <a:off x="894870" y="2610071"/>
            <a:ext cx="2578100" cy="694690"/>
            <a:chOff x="894870" y="2610071"/>
            <a:chExt cx="2578100" cy="694690"/>
          </a:xfrm>
        </p:grpSpPr>
        <p:sp>
          <p:nvSpPr>
            <p:cNvPr id="28" name="object 28"/>
            <p:cNvSpPr/>
            <p:nvPr/>
          </p:nvSpPr>
          <p:spPr>
            <a:xfrm>
              <a:off x="906208" y="2610071"/>
              <a:ext cx="2566670" cy="693420"/>
            </a:xfrm>
            <a:custGeom>
              <a:avLst/>
              <a:gdLst/>
              <a:ahLst/>
              <a:cxnLst/>
              <a:rect l="l" t="t" r="r" b="b"/>
              <a:pathLst>
                <a:path w="2566670" h="693420">
                  <a:moveTo>
                    <a:pt x="950635" y="693319"/>
                  </a:moveTo>
                  <a:lnTo>
                    <a:pt x="873177" y="693237"/>
                  </a:lnTo>
                  <a:lnTo>
                    <a:pt x="797572" y="692988"/>
                  </a:lnTo>
                  <a:lnTo>
                    <a:pt x="724148" y="692563"/>
                  </a:lnTo>
                  <a:lnTo>
                    <a:pt x="653232" y="691955"/>
                  </a:lnTo>
                  <a:lnTo>
                    <a:pt x="585151" y="691158"/>
                  </a:lnTo>
                  <a:lnTo>
                    <a:pt x="520232" y="690163"/>
                  </a:lnTo>
                  <a:lnTo>
                    <a:pt x="458803" y="688964"/>
                  </a:lnTo>
                  <a:lnTo>
                    <a:pt x="401191" y="687554"/>
                  </a:lnTo>
                  <a:lnTo>
                    <a:pt x="347724" y="685924"/>
                  </a:lnTo>
                  <a:lnTo>
                    <a:pt x="298728" y="684069"/>
                  </a:lnTo>
                  <a:lnTo>
                    <a:pt x="254532" y="681980"/>
                  </a:lnTo>
                  <a:lnTo>
                    <a:pt x="215462" y="679651"/>
                  </a:lnTo>
                  <a:lnTo>
                    <a:pt x="154010" y="674242"/>
                  </a:lnTo>
                  <a:lnTo>
                    <a:pt x="106201" y="657461"/>
                  </a:lnTo>
                  <a:lnTo>
                    <a:pt x="79582" y="598639"/>
                  </a:lnTo>
                  <a:lnTo>
                    <a:pt x="65036" y="554275"/>
                  </a:lnTo>
                  <a:lnTo>
                    <a:pt x="50521" y="502700"/>
                  </a:lnTo>
                  <a:lnTo>
                    <a:pt x="36678" y="445981"/>
                  </a:lnTo>
                  <a:lnTo>
                    <a:pt x="24148" y="386185"/>
                  </a:lnTo>
                  <a:lnTo>
                    <a:pt x="13575" y="325382"/>
                  </a:lnTo>
                  <a:lnTo>
                    <a:pt x="5598" y="265638"/>
                  </a:lnTo>
                  <a:lnTo>
                    <a:pt x="859" y="209021"/>
                  </a:lnTo>
                  <a:lnTo>
                    <a:pt x="0" y="157600"/>
                  </a:lnTo>
                  <a:lnTo>
                    <a:pt x="3661" y="113441"/>
                  </a:lnTo>
                  <a:lnTo>
                    <a:pt x="27114" y="55184"/>
                  </a:lnTo>
                  <a:lnTo>
                    <a:pt x="67512" y="41369"/>
                  </a:lnTo>
                  <a:lnTo>
                    <a:pt x="120022" y="33384"/>
                  </a:lnTo>
                  <a:lnTo>
                    <a:pt x="190738" y="26340"/>
                  </a:lnTo>
                  <a:lnTo>
                    <a:pt x="232319" y="23162"/>
                  </a:lnTo>
                  <a:lnTo>
                    <a:pt x="277726" y="20207"/>
                  </a:lnTo>
                  <a:lnTo>
                    <a:pt x="326717" y="17472"/>
                  </a:lnTo>
                  <a:lnTo>
                    <a:pt x="379050" y="14953"/>
                  </a:lnTo>
                  <a:lnTo>
                    <a:pt x="434485" y="12645"/>
                  </a:lnTo>
                  <a:lnTo>
                    <a:pt x="492778" y="10545"/>
                  </a:lnTo>
                  <a:lnTo>
                    <a:pt x="553688" y="8648"/>
                  </a:lnTo>
                  <a:lnTo>
                    <a:pt x="616973" y="6951"/>
                  </a:lnTo>
                  <a:lnTo>
                    <a:pt x="682392" y="5449"/>
                  </a:lnTo>
                  <a:lnTo>
                    <a:pt x="749702" y="4139"/>
                  </a:lnTo>
                  <a:lnTo>
                    <a:pt x="818662" y="3017"/>
                  </a:lnTo>
                  <a:lnTo>
                    <a:pt x="889030" y="2078"/>
                  </a:lnTo>
                  <a:lnTo>
                    <a:pt x="960565" y="1319"/>
                  </a:lnTo>
                  <a:lnTo>
                    <a:pt x="1033024" y="736"/>
                  </a:lnTo>
                  <a:lnTo>
                    <a:pt x="1106165" y="324"/>
                  </a:lnTo>
                  <a:lnTo>
                    <a:pt x="1179748" y="80"/>
                  </a:lnTo>
                  <a:lnTo>
                    <a:pt x="1253529" y="0"/>
                  </a:lnTo>
                  <a:lnTo>
                    <a:pt x="1326808" y="78"/>
                  </a:lnTo>
                  <a:lnTo>
                    <a:pt x="1399808" y="310"/>
                  </a:lnTo>
                  <a:lnTo>
                    <a:pt x="1472291" y="691"/>
                  </a:lnTo>
                  <a:lnTo>
                    <a:pt x="1544020" y="1218"/>
                  </a:lnTo>
                  <a:lnTo>
                    <a:pt x="1614758" y="1888"/>
                  </a:lnTo>
                  <a:lnTo>
                    <a:pt x="1684267" y="2695"/>
                  </a:lnTo>
                  <a:lnTo>
                    <a:pt x="1752310" y="3635"/>
                  </a:lnTo>
                  <a:lnTo>
                    <a:pt x="1818650" y="4706"/>
                  </a:lnTo>
                  <a:lnTo>
                    <a:pt x="1883049" y="5903"/>
                  </a:lnTo>
                  <a:lnTo>
                    <a:pt x="1945270" y="7222"/>
                  </a:lnTo>
                  <a:lnTo>
                    <a:pt x="2005076" y="8658"/>
                  </a:lnTo>
                  <a:lnTo>
                    <a:pt x="2062229" y="10209"/>
                  </a:lnTo>
                  <a:lnTo>
                    <a:pt x="2116492" y="11870"/>
                  </a:lnTo>
                  <a:lnTo>
                    <a:pt x="2167628" y="13637"/>
                  </a:lnTo>
                  <a:lnTo>
                    <a:pt x="2215399" y="15506"/>
                  </a:lnTo>
                  <a:lnTo>
                    <a:pt x="2259569" y="17473"/>
                  </a:lnTo>
                  <a:lnTo>
                    <a:pt x="2299899" y="19535"/>
                  </a:lnTo>
                  <a:lnTo>
                    <a:pt x="2368091" y="23925"/>
                  </a:lnTo>
                  <a:lnTo>
                    <a:pt x="2418079" y="28644"/>
                  </a:lnTo>
                  <a:lnTo>
                    <a:pt x="2468877" y="53179"/>
                  </a:lnTo>
                  <a:lnTo>
                    <a:pt x="2498261" y="125848"/>
                  </a:lnTo>
                  <a:lnTo>
                    <a:pt x="2512644" y="176870"/>
                  </a:lnTo>
                  <a:lnTo>
                    <a:pt x="2526224" y="234525"/>
                  </a:lnTo>
                  <a:lnTo>
                    <a:pt x="2538553" y="296443"/>
                  </a:lnTo>
                  <a:lnTo>
                    <a:pt x="2549182" y="360255"/>
                  </a:lnTo>
                  <a:lnTo>
                    <a:pt x="2557663" y="423592"/>
                  </a:lnTo>
                  <a:lnTo>
                    <a:pt x="2563548" y="484083"/>
                  </a:lnTo>
                  <a:lnTo>
                    <a:pt x="2566389" y="539361"/>
                  </a:lnTo>
                  <a:lnTo>
                    <a:pt x="2565738" y="587056"/>
                  </a:lnTo>
                  <a:lnTo>
                    <a:pt x="2552167" y="650217"/>
                  </a:lnTo>
                  <a:lnTo>
                    <a:pt x="2511805" y="663855"/>
                  </a:lnTo>
                  <a:lnTo>
                    <a:pt x="2468220" y="666797"/>
                  </a:lnTo>
                  <a:lnTo>
                    <a:pt x="2409057" y="669739"/>
                  </a:lnTo>
                  <a:lnTo>
                    <a:pt x="2335776" y="672648"/>
                  </a:lnTo>
                  <a:lnTo>
                    <a:pt x="2294297" y="674081"/>
                  </a:lnTo>
                  <a:lnTo>
                    <a:pt x="2249837" y="675493"/>
                  </a:lnTo>
                  <a:lnTo>
                    <a:pt x="2202577" y="676881"/>
                  </a:lnTo>
                  <a:lnTo>
                    <a:pt x="2152701" y="678240"/>
                  </a:lnTo>
                  <a:lnTo>
                    <a:pt x="2100390" y="679568"/>
                  </a:lnTo>
                  <a:lnTo>
                    <a:pt x="2045828" y="680859"/>
                  </a:lnTo>
                  <a:lnTo>
                    <a:pt x="1989196" y="682109"/>
                  </a:lnTo>
                  <a:lnTo>
                    <a:pt x="1930678" y="683315"/>
                  </a:lnTo>
                  <a:lnTo>
                    <a:pt x="1870456" y="684472"/>
                  </a:lnTo>
                  <a:lnTo>
                    <a:pt x="1808712" y="685577"/>
                  </a:lnTo>
                  <a:lnTo>
                    <a:pt x="1745629" y="686625"/>
                  </a:lnTo>
                  <a:lnTo>
                    <a:pt x="1681389" y="687613"/>
                  </a:lnTo>
                  <a:lnTo>
                    <a:pt x="1616176" y="688536"/>
                  </a:lnTo>
                  <a:lnTo>
                    <a:pt x="1550171" y="689390"/>
                  </a:lnTo>
                  <a:lnTo>
                    <a:pt x="1483558" y="690172"/>
                  </a:lnTo>
                  <a:lnTo>
                    <a:pt x="1416518" y="690876"/>
                  </a:lnTo>
                  <a:lnTo>
                    <a:pt x="1349234" y="691500"/>
                  </a:lnTo>
                  <a:lnTo>
                    <a:pt x="1281889" y="692039"/>
                  </a:lnTo>
                  <a:lnTo>
                    <a:pt x="1214666" y="692489"/>
                  </a:lnTo>
                  <a:lnTo>
                    <a:pt x="1147746" y="692846"/>
                  </a:lnTo>
                  <a:lnTo>
                    <a:pt x="1081312" y="693106"/>
                  </a:lnTo>
                  <a:lnTo>
                    <a:pt x="1015548" y="693265"/>
                  </a:lnTo>
                  <a:lnTo>
                    <a:pt x="950635" y="693319"/>
                  </a:lnTo>
                  <a:close/>
                </a:path>
              </a:pathLst>
            </a:custGeom>
            <a:solidFill>
              <a:srgbClr val="7BD4E9"/>
            </a:solidFill>
          </p:spPr>
          <p:txBody>
            <a:bodyPr wrap="square" lIns="0" tIns="0" rIns="0" bIns="0" rtlCol="0"/>
            <a:lstStyle/>
            <a:p>
              <a:endParaRPr dirty="0"/>
            </a:p>
          </p:txBody>
        </p:sp>
        <p:sp>
          <p:nvSpPr>
            <p:cNvPr id="29" name="object 29"/>
            <p:cNvSpPr/>
            <p:nvPr/>
          </p:nvSpPr>
          <p:spPr>
            <a:xfrm>
              <a:off x="894867" y="2618587"/>
              <a:ext cx="1349375" cy="686435"/>
            </a:xfrm>
            <a:custGeom>
              <a:avLst/>
              <a:gdLst/>
              <a:ahLst/>
              <a:cxnLst/>
              <a:rect l="l" t="t" r="r" b="b"/>
              <a:pathLst>
                <a:path w="1349375" h="686435">
                  <a:moveTo>
                    <a:pt x="1348879" y="7556"/>
                  </a:moveTo>
                  <a:lnTo>
                    <a:pt x="1275930" y="5435"/>
                  </a:lnTo>
                  <a:lnTo>
                    <a:pt x="1207249" y="3670"/>
                  </a:lnTo>
                  <a:lnTo>
                    <a:pt x="1143292" y="2247"/>
                  </a:lnTo>
                  <a:lnTo>
                    <a:pt x="1084491" y="1168"/>
                  </a:lnTo>
                  <a:lnTo>
                    <a:pt x="1031316" y="431"/>
                  </a:lnTo>
                  <a:lnTo>
                    <a:pt x="984211" y="50"/>
                  </a:lnTo>
                  <a:lnTo>
                    <a:pt x="943610" y="0"/>
                  </a:lnTo>
                  <a:lnTo>
                    <a:pt x="930922" y="127"/>
                  </a:lnTo>
                  <a:lnTo>
                    <a:pt x="922997" y="50"/>
                  </a:lnTo>
                  <a:lnTo>
                    <a:pt x="882396" y="0"/>
                  </a:lnTo>
                  <a:lnTo>
                    <a:pt x="822566" y="952"/>
                  </a:lnTo>
                  <a:lnTo>
                    <a:pt x="792518" y="8699"/>
                  </a:lnTo>
                  <a:lnTo>
                    <a:pt x="784326" y="8229"/>
                  </a:lnTo>
                  <a:lnTo>
                    <a:pt x="719175" y="5676"/>
                  </a:lnTo>
                  <a:lnTo>
                    <a:pt x="650722" y="4089"/>
                  </a:lnTo>
                  <a:lnTo>
                    <a:pt x="580605" y="3543"/>
                  </a:lnTo>
                  <a:lnTo>
                    <a:pt x="510895" y="4102"/>
                  </a:lnTo>
                  <a:lnTo>
                    <a:pt x="452920" y="5600"/>
                  </a:lnTo>
                  <a:lnTo>
                    <a:pt x="454406" y="3403"/>
                  </a:lnTo>
                  <a:lnTo>
                    <a:pt x="383095" y="8610"/>
                  </a:lnTo>
                  <a:lnTo>
                    <a:pt x="377863" y="8851"/>
                  </a:lnTo>
                  <a:lnTo>
                    <a:pt x="317754" y="13182"/>
                  </a:lnTo>
                  <a:lnTo>
                    <a:pt x="301142" y="14960"/>
                  </a:lnTo>
                  <a:lnTo>
                    <a:pt x="253276" y="18834"/>
                  </a:lnTo>
                  <a:lnTo>
                    <a:pt x="197256" y="23647"/>
                  </a:lnTo>
                  <a:lnTo>
                    <a:pt x="147650" y="28206"/>
                  </a:lnTo>
                  <a:lnTo>
                    <a:pt x="105029" y="32435"/>
                  </a:lnTo>
                  <a:lnTo>
                    <a:pt x="42900" y="39725"/>
                  </a:lnTo>
                  <a:lnTo>
                    <a:pt x="3340" y="75679"/>
                  </a:lnTo>
                  <a:lnTo>
                    <a:pt x="0" y="109308"/>
                  </a:lnTo>
                  <a:lnTo>
                    <a:pt x="825" y="151828"/>
                  </a:lnTo>
                  <a:lnTo>
                    <a:pt x="5346" y="201320"/>
                  </a:lnTo>
                  <a:lnTo>
                    <a:pt x="13068" y="255892"/>
                  </a:lnTo>
                  <a:lnTo>
                    <a:pt x="23507" y="313626"/>
                  </a:lnTo>
                  <a:lnTo>
                    <a:pt x="36156" y="372618"/>
                  </a:lnTo>
                  <a:lnTo>
                    <a:pt x="50558" y="430974"/>
                  </a:lnTo>
                  <a:lnTo>
                    <a:pt x="66205" y="486778"/>
                  </a:lnTo>
                  <a:lnTo>
                    <a:pt x="82613" y="538137"/>
                  </a:lnTo>
                  <a:lnTo>
                    <a:pt x="99314" y="583145"/>
                  </a:lnTo>
                  <a:lnTo>
                    <a:pt x="115785" y="619887"/>
                  </a:lnTo>
                  <a:lnTo>
                    <a:pt x="146189" y="660984"/>
                  </a:lnTo>
                  <a:lnTo>
                    <a:pt x="186182" y="667613"/>
                  </a:lnTo>
                  <a:lnTo>
                    <a:pt x="201015" y="668426"/>
                  </a:lnTo>
                  <a:lnTo>
                    <a:pt x="232168" y="674281"/>
                  </a:lnTo>
                  <a:lnTo>
                    <a:pt x="279654" y="679119"/>
                  </a:lnTo>
                  <a:lnTo>
                    <a:pt x="337693" y="682396"/>
                  </a:lnTo>
                  <a:lnTo>
                    <a:pt x="404050" y="684263"/>
                  </a:lnTo>
                  <a:lnTo>
                    <a:pt x="476529" y="684860"/>
                  </a:lnTo>
                  <a:lnTo>
                    <a:pt x="542671" y="684441"/>
                  </a:lnTo>
                  <a:lnTo>
                    <a:pt x="610285" y="683260"/>
                  </a:lnTo>
                  <a:lnTo>
                    <a:pt x="677900" y="681418"/>
                  </a:lnTo>
                  <a:lnTo>
                    <a:pt x="744054" y="678980"/>
                  </a:lnTo>
                  <a:lnTo>
                    <a:pt x="807288" y="676059"/>
                  </a:lnTo>
                  <a:lnTo>
                    <a:pt x="826820" y="674966"/>
                  </a:lnTo>
                  <a:lnTo>
                    <a:pt x="862266" y="676706"/>
                  </a:lnTo>
                  <a:lnTo>
                    <a:pt x="918883" y="678980"/>
                  </a:lnTo>
                  <a:lnTo>
                    <a:pt x="948055" y="679831"/>
                  </a:lnTo>
                  <a:lnTo>
                    <a:pt x="999223" y="686092"/>
                  </a:lnTo>
                  <a:lnTo>
                    <a:pt x="1001166" y="680834"/>
                  </a:lnTo>
                  <a:lnTo>
                    <a:pt x="1009053" y="680923"/>
                  </a:lnTo>
                  <a:lnTo>
                    <a:pt x="1017155" y="680796"/>
                  </a:lnTo>
                  <a:lnTo>
                    <a:pt x="1060437" y="686092"/>
                  </a:lnTo>
                  <a:lnTo>
                    <a:pt x="1086065" y="613702"/>
                  </a:lnTo>
                  <a:lnTo>
                    <a:pt x="1100251" y="569899"/>
                  </a:lnTo>
                  <a:lnTo>
                    <a:pt x="1115377" y="522236"/>
                  </a:lnTo>
                  <a:lnTo>
                    <a:pt x="1131468" y="471639"/>
                  </a:lnTo>
                  <a:lnTo>
                    <a:pt x="1148524" y="419049"/>
                  </a:lnTo>
                  <a:lnTo>
                    <a:pt x="1166583" y="365366"/>
                  </a:lnTo>
                  <a:lnTo>
                    <a:pt x="1185646" y="311531"/>
                  </a:lnTo>
                  <a:lnTo>
                    <a:pt x="1205738" y="258445"/>
                  </a:lnTo>
                  <a:lnTo>
                    <a:pt x="1226870" y="207048"/>
                  </a:lnTo>
                  <a:lnTo>
                    <a:pt x="1249083" y="158254"/>
                  </a:lnTo>
                  <a:lnTo>
                    <a:pt x="1272362" y="112979"/>
                  </a:lnTo>
                  <a:lnTo>
                    <a:pt x="1296746" y="72161"/>
                  </a:lnTo>
                  <a:lnTo>
                    <a:pt x="1322247" y="36715"/>
                  </a:lnTo>
                  <a:lnTo>
                    <a:pt x="1348879" y="7556"/>
                  </a:lnTo>
                  <a:close/>
                </a:path>
              </a:pathLst>
            </a:custGeom>
            <a:solidFill>
              <a:srgbClr val="23B5D7"/>
            </a:solidFill>
          </p:spPr>
          <p:txBody>
            <a:bodyPr wrap="square" lIns="0" tIns="0" rIns="0" bIns="0" rtlCol="0"/>
            <a:lstStyle/>
            <a:p>
              <a:endParaRPr/>
            </a:p>
          </p:txBody>
        </p:sp>
      </p:grpSp>
      <p:sp>
        <p:nvSpPr>
          <p:cNvPr id="30" name="object 30"/>
          <p:cNvSpPr txBox="1"/>
          <p:nvPr/>
        </p:nvSpPr>
        <p:spPr>
          <a:xfrm>
            <a:off x="1077326" y="2795224"/>
            <a:ext cx="893444" cy="314960"/>
          </a:xfrm>
          <a:prstGeom prst="rect">
            <a:avLst/>
          </a:prstGeom>
        </p:spPr>
        <p:txBody>
          <a:bodyPr vert="horz" wrap="square" lIns="0" tIns="12700" rIns="0" bIns="0" rtlCol="0">
            <a:spAutoFit/>
          </a:bodyPr>
          <a:lstStyle/>
          <a:p>
            <a:pPr>
              <a:lnSpc>
                <a:spcPct val="100000"/>
              </a:lnSpc>
              <a:spcBef>
                <a:spcPts val="100"/>
              </a:spcBef>
            </a:pPr>
            <a:r>
              <a:rPr sz="1900" spc="-125" dirty="0">
                <a:solidFill>
                  <a:srgbClr val="FFFFFF"/>
                </a:solidFill>
                <a:latin typeface="Trebuchet MS"/>
                <a:cs typeface="Trebuchet MS"/>
              </a:rPr>
              <a:t>F</a:t>
            </a:r>
            <a:r>
              <a:rPr sz="1900" spc="-175" dirty="0">
                <a:solidFill>
                  <a:srgbClr val="FFFFFF"/>
                </a:solidFill>
                <a:latin typeface="Trebuchet MS"/>
                <a:cs typeface="Trebuchet MS"/>
              </a:rPr>
              <a:t>1</a:t>
            </a:r>
            <a:r>
              <a:rPr sz="1900" spc="-70" dirty="0">
                <a:solidFill>
                  <a:srgbClr val="FFFFFF"/>
                </a:solidFill>
                <a:latin typeface="Trebuchet MS"/>
                <a:cs typeface="Trebuchet MS"/>
              </a:rPr>
              <a:t> </a:t>
            </a:r>
            <a:r>
              <a:rPr sz="1900" spc="40" dirty="0">
                <a:solidFill>
                  <a:srgbClr val="FFFFFF"/>
                </a:solidFill>
                <a:latin typeface="Trebuchet MS"/>
                <a:cs typeface="Trebuchet MS"/>
              </a:rPr>
              <a:t>S</a:t>
            </a:r>
            <a:r>
              <a:rPr sz="1900" spc="5" dirty="0">
                <a:solidFill>
                  <a:srgbClr val="FFFFFF"/>
                </a:solidFill>
                <a:latin typeface="Trebuchet MS"/>
                <a:cs typeface="Trebuchet MS"/>
              </a:rPr>
              <a:t>c</a:t>
            </a:r>
            <a:r>
              <a:rPr sz="1900" spc="45" dirty="0">
                <a:solidFill>
                  <a:srgbClr val="FFFFFF"/>
                </a:solidFill>
                <a:latin typeface="Trebuchet MS"/>
                <a:cs typeface="Trebuchet MS"/>
              </a:rPr>
              <a:t>o</a:t>
            </a:r>
            <a:r>
              <a:rPr sz="1900" spc="-25" dirty="0">
                <a:solidFill>
                  <a:srgbClr val="FFFFFF"/>
                </a:solidFill>
                <a:latin typeface="Trebuchet MS"/>
                <a:cs typeface="Trebuchet MS"/>
              </a:rPr>
              <a:t>r</a:t>
            </a:r>
            <a:r>
              <a:rPr sz="1900" spc="-5" dirty="0">
                <a:solidFill>
                  <a:srgbClr val="FFFFFF"/>
                </a:solidFill>
                <a:latin typeface="Trebuchet MS"/>
                <a:cs typeface="Trebuchet MS"/>
              </a:rPr>
              <a:t>e</a:t>
            </a:r>
            <a:endParaRPr sz="1900" dirty="0">
              <a:latin typeface="Trebuchet MS"/>
              <a:cs typeface="Trebuchet MS"/>
            </a:endParaRPr>
          </a:p>
        </p:txBody>
      </p:sp>
      <p:sp>
        <p:nvSpPr>
          <p:cNvPr id="31" name="object 31"/>
          <p:cNvSpPr txBox="1"/>
          <p:nvPr/>
        </p:nvSpPr>
        <p:spPr>
          <a:xfrm>
            <a:off x="2327368" y="2757124"/>
            <a:ext cx="746125" cy="360680"/>
          </a:xfrm>
          <a:prstGeom prst="rect">
            <a:avLst/>
          </a:prstGeom>
        </p:spPr>
        <p:txBody>
          <a:bodyPr vert="horz" wrap="square" lIns="0" tIns="12700" rIns="0" bIns="0" rtlCol="0">
            <a:spAutoFit/>
          </a:bodyPr>
          <a:lstStyle/>
          <a:p>
            <a:pPr>
              <a:lnSpc>
                <a:spcPct val="100000"/>
              </a:lnSpc>
              <a:spcBef>
                <a:spcPts val="100"/>
              </a:spcBef>
            </a:pPr>
            <a:r>
              <a:rPr sz="2200" spc="-140" dirty="0">
                <a:solidFill>
                  <a:srgbClr val="FFFFFF"/>
                </a:solidFill>
                <a:latin typeface="Trebuchet MS"/>
                <a:cs typeface="Trebuchet MS"/>
              </a:rPr>
              <a:t>0.1923</a:t>
            </a:r>
            <a:endParaRPr sz="2200" dirty="0">
              <a:latin typeface="Trebuchet MS"/>
              <a:cs typeface="Trebuchet MS"/>
            </a:endParaRPr>
          </a:p>
        </p:txBody>
      </p:sp>
      <p:pic>
        <p:nvPicPr>
          <p:cNvPr id="32" name="Google Shape;108;p1">
            <a:extLst>
              <a:ext uri="{FF2B5EF4-FFF2-40B4-BE49-F238E27FC236}">
                <a16:creationId xmlns:a16="http://schemas.microsoft.com/office/drawing/2014/main" id="{55DD1400-EFB0-4106-80C7-D230C6790CBA}"/>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4DFA0F87-43B2-448A-84DC-0A6068A07914}"/>
              </a:ext>
            </a:extLst>
          </p:cNvPr>
          <p:cNvGraphicFramePr>
            <a:graphicFrameLocks noGrp="1"/>
          </p:cNvGraphicFramePr>
          <p:nvPr>
            <p:extLst>
              <p:ext uri="{D42A27DB-BD31-4B8C-83A1-F6EECF244321}">
                <p14:modId xmlns:p14="http://schemas.microsoft.com/office/powerpoint/2010/main" val="275609692"/>
              </p:ext>
            </p:extLst>
          </p:nvPr>
        </p:nvGraphicFramePr>
        <p:xfrm>
          <a:off x="990600" y="291237"/>
          <a:ext cx="7162798" cy="4561026"/>
        </p:xfrm>
        <a:graphic>
          <a:graphicData uri="http://schemas.openxmlformats.org/drawingml/2006/table">
            <a:tbl>
              <a:tblPr firstRow="1">
                <a:effectLst>
                  <a:outerShdw blurRad="50800" dist="38100" dir="18900000" algn="bl" rotWithShape="0">
                    <a:prstClr val="black">
                      <a:alpha val="40000"/>
                    </a:prstClr>
                  </a:outerShdw>
                </a:effectLst>
                <a:tableStyleId>{5C22544A-7EE6-4342-B048-85BDC9FD1C3A}</a:tableStyleId>
              </a:tblPr>
              <a:tblGrid>
                <a:gridCol w="1854718">
                  <a:extLst>
                    <a:ext uri="{9D8B030D-6E8A-4147-A177-3AD203B41FA5}">
                      <a16:colId xmlns:a16="http://schemas.microsoft.com/office/drawing/2014/main" val="20000"/>
                    </a:ext>
                  </a:extLst>
                </a:gridCol>
                <a:gridCol w="926133">
                  <a:extLst>
                    <a:ext uri="{9D8B030D-6E8A-4147-A177-3AD203B41FA5}">
                      <a16:colId xmlns:a16="http://schemas.microsoft.com/office/drawing/2014/main" val="20001"/>
                    </a:ext>
                  </a:extLst>
                </a:gridCol>
                <a:gridCol w="886623">
                  <a:extLst>
                    <a:ext uri="{9D8B030D-6E8A-4147-A177-3AD203B41FA5}">
                      <a16:colId xmlns:a16="http://schemas.microsoft.com/office/drawing/2014/main" val="20002"/>
                    </a:ext>
                  </a:extLst>
                </a:gridCol>
                <a:gridCol w="1036460">
                  <a:extLst>
                    <a:ext uri="{9D8B030D-6E8A-4147-A177-3AD203B41FA5}">
                      <a16:colId xmlns:a16="http://schemas.microsoft.com/office/drawing/2014/main" val="20003"/>
                    </a:ext>
                  </a:extLst>
                </a:gridCol>
                <a:gridCol w="1363377">
                  <a:extLst>
                    <a:ext uri="{9D8B030D-6E8A-4147-A177-3AD203B41FA5}">
                      <a16:colId xmlns:a16="http://schemas.microsoft.com/office/drawing/2014/main" val="20004"/>
                    </a:ext>
                  </a:extLst>
                </a:gridCol>
                <a:gridCol w="1095487">
                  <a:extLst>
                    <a:ext uri="{9D8B030D-6E8A-4147-A177-3AD203B41FA5}">
                      <a16:colId xmlns:a16="http://schemas.microsoft.com/office/drawing/2014/main" val="4063408049"/>
                    </a:ext>
                  </a:extLst>
                </a:gridCol>
              </a:tblGrid>
              <a:tr h="716879">
                <a:tc gridSpan="6">
                  <a:txBody>
                    <a:bodyPr/>
                    <a:lstStyle/>
                    <a:p>
                      <a:pPr algn="l"/>
                      <a:r>
                        <a:rPr lang="en-US" sz="2400" dirty="0">
                          <a:latin typeface="Trebuchet MS" panose="020B0603020202020204" pitchFamily="34" charset="0"/>
                          <a:cs typeface="Arial" pitchFamily="34" charset="0"/>
                        </a:rPr>
                        <a:t>Comparison Table</a:t>
                      </a: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100000">
                          <a:srgbClr val="7BD4E9"/>
                        </a:gs>
                        <a:gs pos="53000">
                          <a:srgbClr val="1C8DA9"/>
                        </a:gs>
                        <a:gs pos="0">
                          <a:srgbClr val="167288"/>
                        </a:gs>
                      </a:gsLst>
                      <a:lin ang="5400000" scaled="1"/>
                      <a:tileRect/>
                    </a:gra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l"/>
                      <a:endParaRPr lang="en-US" sz="2400" dirty="0">
                        <a:latin typeface="Trebuchet MS" panose="020B0603020202020204" pitchFamily="34" charset="0"/>
                        <a:cs typeface="Arial" pitchFamily="34" charset="0"/>
                      </a:endParaRPr>
                    </a:p>
                  </a:txBody>
                  <a:tcPr marL="13716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100000">
                          <a:srgbClr val="0071B0"/>
                        </a:gs>
                        <a:gs pos="53000">
                          <a:srgbClr val="00609F"/>
                        </a:gs>
                        <a:gs pos="0">
                          <a:srgbClr val="002060"/>
                        </a:gs>
                      </a:gsLst>
                      <a:lin ang="5400000" scaled="1"/>
                      <a:tileRect/>
                    </a:gradFill>
                  </a:tcPr>
                </a:tc>
                <a:extLst>
                  <a:ext uri="{0D108BD9-81ED-4DB2-BD59-A6C34878D82A}">
                    <a16:rowId xmlns:a16="http://schemas.microsoft.com/office/drawing/2014/main" val="10000"/>
                  </a:ext>
                </a:extLst>
              </a:tr>
              <a:tr h="349921">
                <a:tc>
                  <a:txBody>
                    <a:bodyPr/>
                    <a:lstStyle/>
                    <a:p>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100000">
                          <a:srgbClr val="EEF4FF"/>
                        </a:gs>
                        <a:gs pos="0">
                          <a:srgbClr val="E1EBFF"/>
                        </a:gs>
                      </a:gsLst>
                      <a:lin ang="0" scaled="1"/>
                      <a:tileRect/>
                    </a:gradFill>
                  </a:tcPr>
                </a:tc>
                <a:tc>
                  <a:txBody>
                    <a:bodyPr/>
                    <a:lstStyle/>
                    <a:p>
                      <a:pPr algn="ctr"/>
                      <a:r>
                        <a:rPr lang="en-US" sz="1200" b="1" dirty="0">
                          <a:solidFill>
                            <a:schemeClr val="tx1">
                              <a:lumMod val="95000"/>
                              <a:lumOff val="5000"/>
                            </a:schemeClr>
                          </a:solidFill>
                          <a:latin typeface="Trebuchet MS" panose="020B0603020202020204" pitchFamily="34" charset="0"/>
                          <a:cs typeface="Arial" pitchFamily="34" charset="0"/>
                        </a:rPr>
                        <a:t>Pressio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1" dirty="0">
                          <a:solidFill>
                            <a:schemeClr val="tx1"/>
                          </a:solidFill>
                          <a:latin typeface="Trebuchet MS" panose="020B0603020202020204" pitchFamily="34" charset="0"/>
                          <a:cs typeface="Arial" pitchFamily="34" charset="0"/>
                        </a:rPr>
                        <a:t>Recal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1" dirty="0">
                          <a:solidFill>
                            <a:schemeClr val="tx1"/>
                          </a:solidFill>
                          <a:latin typeface="Trebuchet MS" panose="020B0603020202020204" pitchFamily="34" charset="0"/>
                          <a:cs typeface="Arial" pitchFamily="34" charset="0"/>
                        </a:rPr>
                        <a:t>F1-Sco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1" dirty="0">
                          <a:solidFill>
                            <a:schemeClr val="tx1"/>
                          </a:solidFill>
                          <a:latin typeface="Trebuchet MS" panose="020B0603020202020204" pitchFamily="34" charset="0"/>
                          <a:cs typeface="Arial" pitchFamily="34" charset="0"/>
                        </a:rPr>
                        <a:t>Weighted- F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1" dirty="0">
                          <a:solidFill>
                            <a:schemeClr val="tx1"/>
                          </a:solidFill>
                          <a:latin typeface="Trebuchet MS" panose="020B0603020202020204" pitchFamily="34" charset="0"/>
                          <a:cs typeface="Arial" pitchFamily="34" charset="0"/>
                        </a:rPr>
                        <a:t>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754416059"/>
                  </a:ext>
                </a:extLst>
              </a:tr>
              <a:tr h="349921">
                <a:tc>
                  <a:txBody>
                    <a:bodyPr/>
                    <a:lstStyle/>
                    <a:p>
                      <a:r>
                        <a:rPr lang="en-US" sz="1200" b="1" i="0" dirty="0">
                          <a:solidFill>
                            <a:schemeClr val="dk1"/>
                          </a:solidFill>
                          <a:effectLst/>
                          <a:latin typeface="Trebuchet MS" panose="020B0603020202020204" pitchFamily="34" charset="0"/>
                          <a:ea typeface="+mn-ea"/>
                          <a:cs typeface="+mn-cs"/>
                        </a:rPr>
                        <a:t>Random Forest - TFIDF</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100000">
                          <a:srgbClr val="EEF4FF"/>
                        </a:gs>
                        <a:gs pos="0">
                          <a:srgbClr val="E1EBFF"/>
                        </a:gs>
                      </a:gsLst>
                      <a:lin ang="0" scaled="1"/>
                      <a:tileRect/>
                    </a:gradFill>
                  </a:tcPr>
                </a:tc>
                <a:tc>
                  <a:txBody>
                    <a:bodyPr/>
                    <a:lstStyle/>
                    <a:p>
                      <a:pPr algn="ctr"/>
                      <a:r>
                        <a:rPr lang="en-US" sz="1200" b="0" i="0" dirty="0">
                          <a:solidFill>
                            <a:schemeClr val="dk1"/>
                          </a:solidFill>
                          <a:effectLst/>
                          <a:latin typeface="Trebuchet MS" panose="020B0603020202020204" pitchFamily="34" charset="0"/>
                          <a:ea typeface="+mn-ea"/>
                          <a:cs typeface="+mn-cs"/>
                        </a:rPr>
                        <a:t>0.412844</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161290</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231959</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27249</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Und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r h="3652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dk1"/>
                          </a:solidFill>
                          <a:effectLst/>
                          <a:latin typeface="Trebuchet MS" panose="020B0603020202020204" pitchFamily="34" charset="0"/>
                          <a:ea typeface="+mn-ea"/>
                          <a:cs typeface="+mn-cs"/>
                        </a:rPr>
                        <a:t>Log Reg - TFIDF</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293900</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569892</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87805</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13449</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Ov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3"/>
                  </a:ext>
                </a:extLst>
              </a:tr>
              <a:tr h="365209">
                <a:tc>
                  <a:txBody>
                    <a:bodyPr/>
                    <a:lstStyle/>
                    <a:p>
                      <a:r>
                        <a:rPr lang="en-US" sz="1200" b="1" i="0" dirty="0">
                          <a:solidFill>
                            <a:schemeClr val="dk1"/>
                          </a:solidFill>
                          <a:effectLst/>
                          <a:latin typeface="Trebuchet MS" panose="020B0603020202020204" pitchFamily="34" charset="0"/>
                          <a:ea typeface="+mn-ea"/>
                          <a:cs typeface="+mn-cs"/>
                        </a:rPr>
                        <a:t>Naive Bayes - TFIDF</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411765</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12544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19230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25487</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Und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4"/>
                  </a:ext>
                </a:extLst>
              </a:tr>
              <a:tr h="365209">
                <a:tc>
                  <a:txBody>
                    <a:bodyPr/>
                    <a:lstStyle/>
                    <a:p>
                      <a:r>
                        <a:rPr lang="en-US" sz="1200" b="1" i="0" dirty="0">
                          <a:solidFill>
                            <a:schemeClr val="dk1"/>
                          </a:solidFill>
                          <a:effectLst/>
                          <a:latin typeface="Trebuchet MS" panose="020B0603020202020204" pitchFamily="34" charset="0"/>
                          <a:ea typeface="+mn-ea"/>
                          <a:cs typeface="+mn-cs"/>
                        </a:rPr>
                        <a:t>SVM - TFIDF</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360947</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437276</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95462</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28112</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Und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5"/>
                  </a:ext>
                </a:extLst>
              </a:tr>
              <a:tr h="365209">
                <a:tc>
                  <a:txBody>
                    <a:bodyPr/>
                    <a:lstStyle/>
                    <a:p>
                      <a:r>
                        <a:rPr lang="en-US" sz="1200" b="1" i="0" dirty="0">
                          <a:solidFill>
                            <a:schemeClr val="dk1"/>
                          </a:solidFill>
                          <a:effectLst/>
                          <a:latin typeface="Trebuchet MS" panose="020B0603020202020204" pitchFamily="34" charset="0"/>
                          <a:ea typeface="+mn-ea"/>
                          <a:cs typeface="+mn-cs"/>
                        </a:rPr>
                        <a:t>SVM - Doc2Vec</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20514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634660</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10069</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87374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Ov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6"/>
                  </a:ext>
                </a:extLst>
              </a:tr>
              <a:tr h="365209">
                <a:tc>
                  <a:txBody>
                    <a:bodyPr/>
                    <a:lstStyle/>
                    <a:p>
                      <a:r>
                        <a:rPr lang="en-US" sz="1200" b="1" i="0" dirty="0">
                          <a:solidFill>
                            <a:schemeClr val="dk1"/>
                          </a:solidFill>
                          <a:effectLst/>
                          <a:latin typeface="Trebuchet MS" panose="020B0603020202020204" pitchFamily="34" charset="0"/>
                          <a:ea typeface="+mn-ea"/>
                          <a:cs typeface="+mn-cs"/>
                        </a:rPr>
                        <a:t>SVM - CountVectorizer</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27121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536496</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60294</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10436</a:t>
                      </a:r>
                      <a:r>
                        <a:rPr lang="en-US" sz="1200" dirty="0">
                          <a:solidFill>
                            <a:schemeClr val="tx1">
                              <a:lumMod val="75000"/>
                              <a:lumOff val="25000"/>
                            </a:schemeClr>
                          </a:solidFill>
                          <a:latin typeface="Trebuchet MS" panose="020B0603020202020204" pitchFamily="34" charset="0"/>
                          <a:cs typeface="Arial" pitchFamily="34" charset="0"/>
                        </a:rPr>
                        <a:t>78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Ov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7"/>
                  </a:ext>
                </a:extLst>
              </a:tr>
              <a:tr h="365209">
                <a:tc>
                  <a:txBody>
                    <a:bodyPr/>
                    <a:lstStyle/>
                    <a:p>
                      <a:r>
                        <a:rPr lang="en-US" sz="1200" b="1" i="0" dirty="0">
                          <a:solidFill>
                            <a:schemeClr val="dk1"/>
                          </a:solidFill>
                          <a:effectLst/>
                          <a:latin typeface="Trebuchet MS" panose="020B0603020202020204" pitchFamily="34" charset="0"/>
                          <a:ea typeface="+mn-ea"/>
                          <a:cs typeface="+mn-cs"/>
                        </a:rPr>
                        <a:t>Log Reg - CountVectorizer</a:t>
                      </a:r>
                      <a:endParaRPr lang="en-US" sz="1200" dirty="0">
                        <a:solidFill>
                          <a:srgbClr val="002060"/>
                        </a:solidFill>
                        <a:latin typeface="Trebuchet MS" panose="020B0603020202020204" pitchFamily="34" charset="0"/>
                        <a:cs typeface="Arial" pitchFamily="34" charset="0"/>
                      </a:endParaRPr>
                    </a:p>
                  </a:txBody>
                  <a:tcPr marL="13716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289831</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62408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95833</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12113</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Und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8"/>
                  </a:ext>
                </a:extLst>
              </a:tr>
              <a:tr h="365209">
                <a:tc>
                  <a:txBody>
                    <a:bodyPr/>
                    <a:lstStyle/>
                    <a:p>
                      <a:pPr marL="114300" indent="0" algn="l" fontAlgn="ctr"/>
                      <a:r>
                        <a:rPr lang="en-US" sz="1200" b="1" dirty="0">
                          <a:effectLst/>
                          <a:latin typeface="Trebuchet MS" panose="020B0603020202020204" pitchFamily="34" charset="0"/>
                        </a:rPr>
                        <a:t>Log Reg Oversampled – CountVectorizer</a:t>
                      </a:r>
                    </a:p>
                  </a:txBody>
                  <a:tcPr marL="38100" marR="38100" marT="38100" marB="38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23255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474453</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12125</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02366</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Ov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06164296"/>
                  </a:ext>
                </a:extLst>
              </a:tr>
              <a:tr h="365209">
                <a:tc>
                  <a:txBody>
                    <a:bodyPr/>
                    <a:lstStyle/>
                    <a:p>
                      <a:pPr marL="114300" marR="0" lvl="0" indent="0" algn="l" defTabSz="914400" eaLnBrk="1" fontAlgn="ctr" latinLnBrk="0" hangingPunct="1">
                        <a:lnSpc>
                          <a:spcPct val="100000"/>
                        </a:lnSpc>
                        <a:spcBef>
                          <a:spcPts val="0"/>
                        </a:spcBef>
                        <a:spcAft>
                          <a:spcPts val="0"/>
                        </a:spcAft>
                        <a:buClrTx/>
                        <a:buSzTx/>
                        <a:buFontTx/>
                        <a:buNone/>
                        <a:tabLst/>
                        <a:defRPr/>
                      </a:pPr>
                      <a:r>
                        <a:rPr lang="en-US" sz="1200" b="1" dirty="0">
                          <a:effectLst/>
                          <a:latin typeface="Trebuchet MS" panose="020B0603020202020204" pitchFamily="34" charset="0"/>
                        </a:rPr>
                        <a:t>Log Reg Undersampled – CountVectorizer</a:t>
                      </a:r>
                    </a:p>
                  </a:txBody>
                  <a:tcPr marL="38100" marR="38100" marT="38100" marB="38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a:gsLst>
                        <a:gs pos="100000">
                          <a:srgbClr val="EEF4FF"/>
                        </a:gs>
                        <a:gs pos="0">
                          <a:srgbClr val="E1EBFF"/>
                        </a:gs>
                      </a:gsLst>
                      <a:lin ang="0" scaled="1"/>
                    </a:gradFill>
                  </a:tcPr>
                </a:tc>
                <a:tc>
                  <a:txBody>
                    <a:bodyPr/>
                    <a:lstStyle/>
                    <a:p>
                      <a:pPr algn="ctr"/>
                      <a:r>
                        <a:rPr lang="en-US" sz="1200" b="0" i="0" dirty="0">
                          <a:solidFill>
                            <a:schemeClr val="dk1"/>
                          </a:solidFill>
                          <a:effectLst/>
                          <a:latin typeface="Trebuchet MS" panose="020B0603020202020204" pitchFamily="34" charset="0"/>
                          <a:ea typeface="+mn-ea"/>
                          <a:cs typeface="+mn-cs"/>
                        </a:rPr>
                        <a:t>0.570175</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237226</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335052</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dirty="0">
                          <a:solidFill>
                            <a:schemeClr val="dk1"/>
                          </a:solidFill>
                          <a:effectLst/>
                          <a:latin typeface="Trebuchet MS" panose="020B0603020202020204" pitchFamily="34" charset="0"/>
                          <a:ea typeface="+mn-ea"/>
                          <a:cs typeface="+mn-cs"/>
                        </a:rPr>
                        <a:t>0.937658</a:t>
                      </a:r>
                      <a:endParaRPr lang="en-US" sz="1200" dirty="0">
                        <a:solidFill>
                          <a:schemeClr val="tx1">
                            <a:lumMod val="75000"/>
                            <a:lumOff val="25000"/>
                          </a:schemeClr>
                        </a:solidFill>
                        <a:latin typeface="Trebuchet MS" panose="020B0603020202020204" pitchFamily="34" charset="0"/>
                        <a:cs typeface="Arial"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dirty="0">
                          <a:solidFill>
                            <a:schemeClr val="tx1">
                              <a:lumMod val="75000"/>
                              <a:lumOff val="25000"/>
                            </a:schemeClr>
                          </a:solidFill>
                          <a:latin typeface="Trebuchet MS" panose="020B0603020202020204" pitchFamily="34" charset="0"/>
                          <a:cs typeface="Arial" pitchFamily="34" charset="0"/>
                        </a:rPr>
                        <a:t>Underfi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2430752105"/>
                  </a:ext>
                </a:extLst>
              </a:tr>
            </a:tbl>
          </a:graphicData>
        </a:graphic>
      </p:graphicFrame>
      <p:pic>
        <p:nvPicPr>
          <p:cNvPr id="3" name="Google Shape;108;p1">
            <a:extLst>
              <a:ext uri="{FF2B5EF4-FFF2-40B4-BE49-F238E27FC236}">
                <a16:creationId xmlns:a16="http://schemas.microsoft.com/office/drawing/2014/main" id="{13FBB0FE-961D-4411-8ED1-1F4C9BDF2A39}"/>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3379595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10;&#10;Description automatically generated">
            <a:extLst>
              <a:ext uri="{FF2B5EF4-FFF2-40B4-BE49-F238E27FC236}">
                <a16:creationId xmlns:a16="http://schemas.microsoft.com/office/drawing/2014/main" id="{FD5B1015-81E0-48C5-94E6-A7018978B217}"/>
              </a:ext>
            </a:extLst>
          </p:cNvPr>
          <p:cNvPicPr>
            <a:picLocks noChangeAspect="1"/>
          </p:cNvPicPr>
          <p:nvPr/>
        </p:nvPicPr>
        <p:blipFill rotWithShape="1">
          <a:blip r:embed="rId2">
            <a:extLst>
              <a:ext uri="{28A0092B-C50C-407E-A947-70E740481C1C}">
                <a14:useLocalDpi xmlns:a14="http://schemas.microsoft.com/office/drawing/2010/main" val="0"/>
              </a:ext>
            </a:extLst>
          </a:blip>
          <a:srcRect t="18990"/>
          <a:stretch/>
        </p:blipFill>
        <p:spPr>
          <a:xfrm>
            <a:off x="0" y="590550"/>
            <a:ext cx="4572000" cy="3387126"/>
          </a:xfrm>
          <a:prstGeom prst="rect">
            <a:avLst/>
          </a:prstGeom>
        </p:spPr>
      </p:pic>
      <p:pic>
        <p:nvPicPr>
          <p:cNvPr id="7" name="Picture 6" descr="Chart&#10;&#10;Description automatically generated with low confidence">
            <a:extLst>
              <a:ext uri="{FF2B5EF4-FFF2-40B4-BE49-F238E27FC236}">
                <a16:creationId xmlns:a16="http://schemas.microsoft.com/office/drawing/2014/main" id="{5B3D10EA-7906-4250-BDA0-8AB066D1FECC}"/>
              </a:ext>
            </a:extLst>
          </p:cNvPr>
          <p:cNvPicPr>
            <a:picLocks noChangeAspect="1"/>
          </p:cNvPicPr>
          <p:nvPr/>
        </p:nvPicPr>
        <p:blipFill rotWithShape="1">
          <a:blip r:embed="rId3">
            <a:extLst>
              <a:ext uri="{28A0092B-C50C-407E-A947-70E740481C1C}">
                <a14:useLocalDpi xmlns:a14="http://schemas.microsoft.com/office/drawing/2010/main" val="0"/>
              </a:ext>
            </a:extLst>
          </a:blip>
          <a:srcRect t="18945"/>
          <a:stretch/>
        </p:blipFill>
        <p:spPr>
          <a:xfrm>
            <a:off x="4578927" y="590550"/>
            <a:ext cx="4451081" cy="3387126"/>
          </a:xfrm>
          <a:prstGeom prst="rect">
            <a:avLst/>
          </a:prstGeom>
        </p:spPr>
      </p:pic>
      <p:sp>
        <p:nvSpPr>
          <p:cNvPr id="8" name="Rectangle 7">
            <a:extLst>
              <a:ext uri="{FF2B5EF4-FFF2-40B4-BE49-F238E27FC236}">
                <a16:creationId xmlns:a16="http://schemas.microsoft.com/office/drawing/2014/main" id="{A276945D-757A-4FE0-B018-B17B4A58617D}"/>
              </a:ext>
            </a:extLst>
          </p:cNvPr>
          <p:cNvSpPr/>
          <p:nvPr/>
        </p:nvSpPr>
        <p:spPr>
          <a:xfrm>
            <a:off x="533400" y="3867150"/>
            <a:ext cx="3781156"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1C8DA9"/>
                </a:solidFill>
                <a:latin typeface="Trebuchet MS" panose="020B0603020202020204" pitchFamily="34" charset="0"/>
              </a:rPr>
              <a:t>Fig. 14 Confusion Matrix for Logistic Regression with CountVectorizer</a:t>
            </a:r>
          </a:p>
        </p:txBody>
      </p:sp>
      <p:sp>
        <p:nvSpPr>
          <p:cNvPr id="10" name="Rectangle 9">
            <a:extLst>
              <a:ext uri="{FF2B5EF4-FFF2-40B4-BE49-F238E27FC236}">
                <a16:creationId xmlns:a16="http://schemas.microsoft.com/office/drawing/2014/main" id="{259B28FA-5A6C-43E8-97E1-B95FBE22AA75}"/>
              </a:ext>
            </a:extLst>
          </p:cNvPr>
          <p:cNvSpPr/>
          <p:nvPr/>
        </p:nvSpPr>
        <p:spPr>
          <a:xfrm>
            <a:off x="4931830" y="3867150"/>
            <a:ext cx="3781156"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3F007D"/>
                </a:solidFill>
                <a:latin typeface="Trebuchet MS" panose="020B0603020202020204" pitchFamily="34" charset="0"/>
              </a:rPr>
              <a:t>Fig. 15 Normalized Confusion Matrix for Logistic Regression with CountVectorizer</a:t>
            </a:r>
          </a:p>
        </p:txBody>
      </p:sp>
      <p:pic>
        <p:nvPicPr>
          <p:cNvPr id="11" name="Google Shape;108;p1">
            <a:extLst>
              <a:ext uri="{FF2B5EF4-FFF2-40B4-BE49-F238E27FC236}">
                <a16:creationId xmlns:a16="http://schemas.microsoft.com/office/drawing/2014/main" id="{31C6926C-8E07-47B7-8166-ED658BAA1C19}"/>
              </a:ext>
            </a:extLst>
          </p:cNvPr>
          <p:cNvPicPr preferRelativeResize="0"/>
          <p:nvPr/>
        </p:nvPicPr>
        <p:blipFill rotWithShape="1">
          <a:blip r:embed="rId4">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3740934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42E4671C-3805-4822-A57A-4BE840C471FD}"/>
              </a:ext>
            </a:extLst>
          </p:cNvPr>
          <p:cNvSpPr txBox="1">
            <a:spLocks noGrp="1"/>
          </p:cNvSpPr>
          <p:nvPr>
            <p:ph type="title"/>
          </p:nvPr>
        </p:nvSpPr>
        <p:spPr>
          <a:xfrm>
            <a:off x="3624361" y="209550"/>
            <a:ext cx="1895277" cy="452120"/>
          </a:xfrm>
          <a:prstGeom prst="rect">
            <a:avLst/>
          </a:prstGeom>
        </p:spPr>
        <p:txBody>
          <a:bodyPr vert="horz" wrap="square" lIns="0" tIns="12700" rIns="0" bIns="0" rtlCol="0">
            <a:spAutoFit/>
          </a:bodyPr>
          <a:lstStyle/>
          <a:p>
            <a:pPr marL="27940">
              <a:lnSpc>
                <a:spcPct val="100000"/>
              </a:lnSpc>
              <a:spcBef>
                <a:spcPts val="100"/>
              </a:spcBef>
            </a:pPr>
            <a:r>
              <a:rPr lang="en-US" spc="25" dirty="0"/>
              <a:t>Conclusion</a:t>
            </a:r>
            <a:endParaRPr spc="145" dirty="0"/>
          </a:p>
        </p:txBody>
      </p:sp>
      <p:sp>
        <p:nvSpPr>
          <p:cNvPr id="5" name="object 18">
            <a:extLst>
              <a:ext uri="{FF2B5EF4-FFF2-40B4-BE49-F238E27FC236}">
                <a16:creationId xmlns:a16="http://schemas.microsoft.com/office/drawing/2014/main" id="{A152CBD1-6022-4103-AA24-64625351DE6A}"/>
              </a:ext>
            </a:extLst>
          </p:cNvPr>
          <p:cNvSpPr txBox="1"/>
          <p:nvPr/>
        </p:nvSpPr>
        <p:spPr>
          <a:xfrm>
            <a:off x="228599" y="895350"/>
            <a:ext cx="8686799" cy="3027111"/>
          </a:xfrm>
          <a:prstGeom prst="rect">
            <a:avLst/>
          </a:prstGeom>
        </p:spPr>
        <p:txBody>
          <a:bodyPr vert="horz" wrap="square" lIns="0" tIns="10795" rIns="0" bIns="0" rtlCol="0">
            <a:spAutoFit/>
          </a:bodyPr>
          <a:lstStyle/>
          <a:p>
            <a:pPr marL="285750" indent="-285750">
              <a:spcBef>
                <a:spcPts val="40"/>
              </a:spcBef>
              <a:buFont typeface="Arial" panose="020B0604020202020204" pitchFamily="34" charset="0"/>
              <a:buChar char="•"/>
            </a:pPr>
            <a:r>
              <a:rPr lang="en-US" sz="1400" b="0" i="0" dirty="0">
                <a:solidFill>
                  <a:srgbClr val="202020"/>
                </a:solidFill>
                <a:effectLst/>
                <a:latin typeface="Trebuchet MS" panose="020B0603020202020204" pitchFamily="34" charset="0"/>
              </a:rPr>
              <a:t>As hate speech continues to be a social problem, the need for automatic hate speech detection systems becomes more apparent. </a:t>
            </a:r>
          </a:p>
          <a:p>
            <a:pPr marL="285750" indent="-285750">
              <a:spcBef>
                <a:spcPts val="40"/>
              </a:spcBef>
              <a:buFont typeface="Arial" panose="020B0604020202020204" pitchFamily="34" charset="0"/>
              <a:buChar char="•"/>
            </a:pPr>
            <a:endParaRPr lang="en-US" sz="1400" dirty="0">
              <a:solidFill>
                <a:srgbClr val="202020"/>
              </a:solidFill>
              <a:latin typeface="Trebuchet MS" panose="020B0603020202020204" pitchFamily="34" charset="0"/>
            </a:endParaRPr>
          </a:p>
          <a:p>
            <a:pPr marL="285750" indent="-285750">
              <a:spcBef>
                <a:spcPts val="40"/>
              </a:spcBef>
              <a:buFont typeface="Arial" panose="020B0604020202020204" pitchFamily="34" charset="0"/>
              <a:buChar char="•"/>
            </a:pPr>
            <a:r>
              <a:rPr lang="en-US" sz="1400" b="0" i="0" dirty="0">
                <a:solidFill>
                  <a:srgbClr val="202020"/>
                </a:solidFill>
                <a:effectLst/>
                <a:latin typeface="Trebuchet MS" panose="020B0603020202020204" pitchFamily="34" charset="0"/>
              </a:rPr>
              <a:t>We presented the current approaches for this task as well as a new system that achieves reasonable accuracy.</a:t>
            </a:r>
            <a:endParaRPr lang="en-US" sz="1400" dirty="0">
              <a:latin typeface="Trebuchet MS" panose="020B0603020202020204" pitchFamily="34" charset="0"/>
            </a:endParaRPr>
          </a:p>
          <a:p>
            <a:pPr marL="285750" indent="-285750">
              <a:lnSpc>
                <a:spcPct val="100000"/>
              </a:lnSpc>
              <a:spcBef>
                <a:spcPts val="40"/>
              </a:spcBef>
              <a:buFont typeface="Arial" panose="020B0604020202020204" pitchFamily="34" charset="0"/>
              <a:buChar char="•"/>
            </a:pPr>
            <a:endParaRPr lang="en-US" sz="1400" dirty="0">
              <a:latin typeface="Trebuchet MS" panose="020B0603020202020204" pitchFamily="34" charset="0"/>
            </a:endParaRPr>
          </a:p>
          <a:p>
            <a:pPr marL="285750" indent="-285750">
              <a:lnSpc>
                <a:spcPct val="100000"/>
              </a:lnSpc>
              <a:spcBef>
                <a:spcPts val="40"/>
              </a:spcBef>
              <a:buFont typeface="Arial" panose="020B0604020202020204" pitchFamily="34" charset="0"/>
              <a:buChar char="•"/>
            </a:pPr>
            <a:r>
              <a:rPr lang="en-US" sz="1400" dirty="0">
                <a:latin typeface="Trebuchet MS" panose="020B0603020202020204" pitchFamily="34" charset="0"/>
              </a:rPr>
              <a:t>The final model had an F1 of .3958 and Recall of .624. Although this project had extensive preprocessing and modeling iterations, there is still room for improvement.</a:t>
            </a:r>
          </a:p>
          <a:p>
            <a:pPr marL="285750" indent="-285750">
              <a:lnSpc>
                <a:spcPct val="100000"/>
              </a:lnSpc>
              <a:spcBef>
                <a:spcPts val="40"/>
              </a:spcBef>
              <a:buFont typeface="Arial" panose="020B0604020202020204" pitchFamily="34" charset="0"/>
              <a:buChar char="•"/>
            </a:pPr>
            <a:endParaRPr lang="en-US" sz="1400" dirty="0">
              <a:latin typeface="Trebuchet MS" panose="020B0603020202020204" pitchFamily="34" charset="0"/>
            </a:endParaRPr>
          </a:p>
          <a:p>
            <a:pPr marL="285750" indent="-285750">
              <a:lnSpc>
                <a:spcPct val="100000"/>
              </a:lnSpc>
              <a:spcBef>
                <a:spcPts val="40"/>
              </a:spcBef>
              <a:buFont typeface="Arial" panose="020B0604020202020204" pitchFamily="34" charset="0"/>
              <a:buChar char="•"/>
            </a:pPr>
            <a:r>
              <a:rPr lang="en-US" sz="1400" b="0" i="0" dirty="0">
                <a:solidFill>
                  <a:srgbClr val="000000"/>
                </a:solidFill>
                <a:effectLst/>
                <a:latin typeface="Trebuchet MS" panose="020B0603020202020204" pitchFamily="34" charset="0"/>
              </a:rPr>
              <a:t>Ultimately, automating hate speech detection is an extremely difficult task because of the nuances in English slang and slurs. This project was able to get that process started, but there is much more work to be done to keep this content off of the public-facing forums.</a:t>
            </a:r>
            <a:endParaRPr lang="en-US" sz="1400" dirty="0">
              <a:latin typeface="Trebuchet MS" panose="020B0603020202020204" pitchFamily="34" charset="0"/>
            </a:endParaRPr>
          </a:p>
          <a:p>
            <a:pPr>
              <a:lnSpc>
                <a:spcPct val="100000"/>
              </a:lnSpc>
              <a:spcBef>
                <a:spcPts val="40"/>
              </a:spcBef>
            </a:pPr>
            <a:endParaRPr lang="en-US" sz="1400" dirty="0">
              <a:latin typeface="Trebuchet MS" panose="020B0603020202020204" pitchFamily="34" charset="0"/>
            </a:endParaRPr>
          </a:p>
          <a:p>
            <a:pPr marL="285750" indent="-285750">
              <a:lnSpc>
                <a:spcPct val="100000"/>
              </a:lnSpc>
              <a:spcBef>
                <a:spcPts val="40"/>
              </a:spcBef>
              <a:buFont typeface="Arial" panose="020B0604020202020204" pitchFamily="34" charset="0"/>
              <a:buChar char="•"/>
            </a:pPr>
            <a:endParaRPr lang="en-US" sz="1400" dirty="0">
              <a:solidFill>
                <a:srgbClr val="000000"/>
              </a:solidFill>
              <a:latin typeface="Trebuchet MS" panose="020B0603020202020204" pitchFamily="34" charset="0"/>
            </a:endParaRPr>
          </a:p>
        </p:txBody>
      </p:sp>
      <p:pic>
        <p:nvPicPr>
          <p:cNvPr id="6" name="Google Shape;108;p1">
            <a:extLst>
              <a:ext uri="{FF2B5EF4-FFF2-40B4-BE49-F238E27FC236}">
                <a16:creationId xmlns:a16="http://schemas.microsoft.com/office/drawing/2014/main" id="{A9E87C89-4F3C-461B-9821-8927CB8CEFDF}"/>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pic>
        <p:nvPicPr>
          <p:cNvPr id="7" name="Picture 2" descr="Stop Hate Speech pioneer project | Migros Commitment">
            <a:extLst>
              <a:ext uri="{FF2B5EF4-FFF2-40B4-BE49-F238E27FC236}">
                <a16:creationId xmlns:a16="http://schemas.microsoft.com/office/drawing/2014/main" id="{311A7548-0418-4907-8B5A-D7E1732BB491}"/>
              </a:ext>
            </a:extLst>
          </p:cNvPr>
          <p:cNvPicPr>
            <a:picLocks noChangeAspect="1" noChangeArrowheads="1"/>
          </p:cNvPicPr>
          <p:nvPr/>
        </p:nvPicPr>
        <p:blipFill>
          <a:blip r:embed="rId3" cstate="print">
            <a:duotone>
              <a:schemeClr val="accent5">
                <a:shade val="45000"/>
                <a:satMod val="135000"/>
              </a:schemeClr>
              <a:prstClr val="white"/>
            </a:duotone>
            <a:alphaModFix/>
            <a:extLst>
              <a:ext uri="{28A0092B-C50C-407E-A947-70E740481C1C}">
                <a14:useLocalDpi xmlns:a14="http://schemas.microsoft.com/office/drawing/2010/main" val="0"/>
              </a:ext>
            </a:extLst>
          </a:blip>
          <a:srcRect/>
          <a:stretch>
            <a:fillRect/>
          </a:stretch>
        </p:blipFill>
        <p:spPr bwMode="auto">
          <a:xfrm>
            <a:off x="0" y="3733856"/>
            <a:ext cx="2590800" cy="1237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468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49CA9-6EBD-4395-9390-463BF558C084}"/>
              </a:ext>
            </a:extLst>
          </p:cNvPr>
          <p:cNvSpPr>
            <a:spLocks noGrp="1"/>
          </p:cNvSpPr>
          <p:nvPr>
            <p:ph type="title"/>
          </p:nvPr>
        </p:nvSpPr>
        <p:spPr>
          <a:xfrm>
            <a:off x="3133923" y="285750"/>
            <a:ext cx="2876153" cy="430887"/>
          </a:xfrm>
        </p:spPr>
        <p:txBody>
          <a:bodyPr/>
          <a:lstStyle/>
          <a:p>
            <a:r>
              <a:rPr lang="en-US" dirty="0"/>
              <a:t>Literature Cited</a:t>
            </a:r>
          </a:p>
        </p:txBody>
      </p:sp>
      <p:sp>
        <p:nvSpPr>
          <p:cNvPr id="3" name="Text Placeholder 2">
            <a:extLst>
              <a:ext uri="{FF2B5EF4-FFF2-40B4-BE49-F238E27FC236}">
                <a16:creationId xmlns:a16="http://schemas.microsoft.com/office/drawing/2014/main" id="{CD3F72C0-AABC-4465-924D-9011002365FA}"/>
              </a:ext>
            </a:extLst>
          </p:cNvPr>
          <p:cNvSpPr>
            <a:spLocks noGrp="1"/>
          </p:cNvSpPr>
          <p:nvPr>
            <p:ph type="body" idx="1"/>
          </p:nvPr>
        </p:nvSpPr>
        <p:spPr>
          <a:xfrm>
            <a:off x="457200" y="1183005"/>
            <a:ext cx="8229600" cy="3877985"/>
          </a:xfrm>
        </p:spPr>
        <p:txBody>
          <a:bodyPr/>
          <a:lstStyle/>
          <a:p>
            <a:pPr algn="just"/>
            <a:r>
              <a:rPr lang="en-US" sz="1200" dirty="0">
                <a:solidFill>
                  <a:schemeClr val="tx2">
                    <a:lumMod val="50000"/>
                  </a:schemeClr>
                </a:solidFill>
                <a:latin typeface="Trebuchet MS" panose="020B0603020202020204" pitchFamily="34" charset="0"/>
                <a:cs typeface="Times New Roman" pitchFamily="18" charset="0"/>
              </a:rPr>
              <a:t>[1]  </a:t>
            </a:r>
            <a:r>
              <a:rPr lang="en-US" sz="1200" dirty="0" err="1">
                <a:solidFill>
                  <a:schemeClr val="tx2">
                    <a:lumMod val="50000"/>
                  </a:schemeClr>
                </a:solidFill>
                <a:latin typeface="Trebuchet MS" panose="020B0603020202020204" pitchFamily="34" charset="0"/>
                <a:cs typeface="Times New Roman" pitchFamily="18" charset="0"/>
              </a:rPr>
              <a:t>Ombui</a:t>
            </a:r>
            <a:r>
              <a:rPr lang="en-US" sz="1200" dirty="0">
                <a:solidFill>
                  <a:schemeClr val="tx2">
                    <a:lumMod val="50000"/>
                  </a:schemeClr>
                </a:solidFill>
                <a:latin typeface="Trebuchet MS" panose="020B0603020202020204" pitchFamily="34" charset="0"/>
                <a:cs typeface="Times New Roman" pitchFamily="18" charset="0"/>
              </a:rPr>
              <a:t>, E., </a:t>
            </a:r>
            <a:r>
              <a:rPr lang="en-US" sz="1200" dirty="0" err="1">
                <a:solidFill>
                  <a:schemeClr val="tx2">
                    <a:lumMod val="50000"/>
                  </a:schemeClr>
                </a:solidFill>
                <a:latin typeface="Trebuchet MS" panose="020B0603020202020204" pitchFamily="34" charset="0"/>
                <a:cs typeface="Times New Roman" pitchFamily="18" charset="0"/>
              </a:rPr>
              <a:t>Muchemi</a:t>
            </a:r>
            <a:r>
              <a:rPr lang="en-US" sz="1200" dirty="0">
                <a:solidFill>
                  <a:schemeClr val="tx2">
                    <a:lumMod val="50000"/>
                  </a:schemeClr>
                </a:solidFill>
                <a:latin typeface="Trebuchet MS" panose="020B0603020202020204" pitchFamily="34" charset="0"/>
                <a:cs typeface="Times New Roman" pitchFamily="18" charset="0"/>
              </a:rPr>
              <a:t>, L., &amp; </a:t>
            </a:r>
            <a:r>
              <a:rPr lang="en-US" sz="1200" dirty="0" err="1">
                <a:solidFill>
                  <a:schemeClr val="tx2">
                    <a:lumMod val="50000"/>
                  </a:schemeClr>
                </a:solidFill>
                <a:latin typeface="Trebuchet MS" panose="020B0603020202020204" pitchFamily="34" charset="0"/>
                <a:cs typeface="Times New Roman" pitchFamily="18" charset="0"/>
              </a:rPr>
              <a:t>Wagacha</a:t>
            </a:r>
            <a:r>
              <a:rPr lang="en-US" sz="1200" dirty="0">
                <a:solidFill>
                  <a:schemeClr val="tx2">
                    <a:lumMod val="50000"/>
                  </a:schemeClr>
                </a:solidFill>
                <a:latin typeface="Trebuchet MS" panose="020B0603020202020204" pitchFamily="34" charset="0"/>
                <a:cs typeface="Times New Roman" pitchFamily="18" charset="0"/>
              </a:rPr>
              <a:t>, P. (2019). </a:t>
            </a:r>
            <a:r>
              <a:rPr lang="en-US" sz="1200" i="1" dirty="0">
                <a:solidFill>
                  <a:schemeClr val="tx2">
                    <a:lumMod val="50000"/>
                  </a:schemeClr>
                </a:solidFill>
                <a:latin typeface="Trebuchet MS" panose="020B0603020202020204" pitchFamily="34" charset="0"/>
                <a:cs typeface="Times New Roman" pitchFamily="18" charset="0"/>
              </a:rPr>
              <a:t>Hate Speech Detection in Code-switched Text Messages. 2019 3rd International Symposium on Multidisciplinary Studies and Innovative Technologies (ISMSIT).</a:t>
            </a:r>
            <a:r>
              <a:rPr lang="en-US" sz="1200" dirty="0">
                <a:solidFill>
                  <a:schemeClr val="tx2">
                    <a:lumMod val="50000"/>
                  </a:schemeClr>
                </a:solidFill>
                <a:latin typeface="Trebuchet MS" panose="020B0603020202020204" pitchFamily="34" charset="0"/>
                <a:cs typeface="Times New Roman" pitchFamily="18" charset="0"/>
              </a:rPr>
              <a:t> doi:10.1109/ismsit.2019.8932845</a:t>
            </a:r>
          </a:p>
          <a:p>
            <a:pPr algn="just"/>
            <a:endParaRPr lang="en-US" sz="1200" dirty="0">
              <a:solidFill>
                <a:schemeClr val="tx2">
                  <a:lumMod val="50000"/>
                </a:schemeClr>
              </a:solidFill>
              <a:latin typeface="Trebuchet MS" panose="020B0603020202020204" pitchFamily="34" charset="0"/>
              <a:cs typeface="Times New Roman" pitchFamily="18" charset="0"/>
            </a:endParaRPr>
          </a:p>
          <a:p>
            <a:pPr algn="just"/>
            <a:r>
              <a:rPr lang="en-US" sz="1200" dirty="0">
                <a:solidFill>
                  <a:schemeClr val="tx2">
                    <a:lumMod val="50000"/>
                  </a:schemeClr>
                </a:solidFill>
                <a:latin typeface="Trebuchet MS" panose="020B0603020202020204" pitchFamily="34" charset="0"/>
                <a:cs typeface="Times New Roman" pitchFamily="18" charset="0"/>
              </a:rPr>
              <a:t>[2] </a:t>
            </a:r>
            <a:r>
              <a:rPr lang="en-US" sz="1200" dirty="0" err="1">
                <a:solidFill>
                  <a:schemeClr val="tx2">
                    <a:lumMod val="50000"/>
                  </a:schemeClr>
                </a:solidFill>
                <a:latin typeface="Trebuchet MS" panose="020B0603020202020204" pitchFamily="34" charset="0"/>
                <a:cs typeface="Times New Roman" pitchFamily="18" charset="0"/>
              </a:rPr>
              <a:t>Niam</a:t>
            </a:r>
            <a:r>
              <a:rPr lang="en-US" sz="1200" dirty="0">
                <a:solidFill>
                  <a:schemeClr val="tx2">
                    <a:lumMod val="50000"/>
                  </a:schemeClr>
                </a:solidFill>
                <a:latin typeface="Trebuchet MS" panose="020B0603020202020204" pitchFamily="34" charset="0"/>
                <a:cs typeface="Times New Roman" pitchFamily="18" charset="0"/>
              </a:rPr>
              <a:t>, Ilham Maulana Ahmad, </a:t>
            </a:r>
            <a:r>
              <a:rPr lang="en-US" sz="1200" dirty="0" err="1">
                <a:solidFill>
                  <a:schemeClr val="tx2">
                    <a:lumMod val="50000"/>
                  </a:schemeClr>
                </a:solidFill>
                <a:latin typeface="Trebuchet MS" panose="020B0603020202020204" pitchFamily="34" charset="0"/>
                <a:cs typeface="Times New Roman" pitchFamily="18" charset="0"/>
              </a:rPr>
              <a:t>Budhi</a:t>
            </a:r>
            <a:r>
              <a:rPr lang="en-US" sz="1200" dirty="0">
                <a:solidFill>
                  <a:schemeClr val="tx2">
                    <a:lumMod val="50000"/>
                  </a:schemeClr>
                </a:solidFill>
                <a:latin typeface="Trebuchet MS" panose="020B0603020202020204" pitchFamily="34" charset="0"/>
                <a:cs typeface="Times New Roman" pitchFamily="18" charset="0"/>
              </a:rPr>
              <a:t> </a:t>
            </a:r>
            <a:r>
              <a:rPr lang="en-US" sz="1200" dirty="0" err="1">
                <a:solidFill>
                  <a:schemeClr val="tx2">
                    <a:lumMod val="50000"/>
                  </a:schemeClr>
                </a:solidFill>
                <a:latin typeface="Trebuchet MS" panose="020B0603020202020204" pitchFamily="34" charset="0"/>
                <a:cs typeface="Times New Roman" pitchFamily="18" charset="0"/>
              </a:rPr>
              <a:t>Irawan</a:t>
            </a:r>
            <a:r>
              <a:rPr lang="en-US" sz="1200" dirty="0">
                <a:solidFill>
                  <a:schemeClr val="tx2">
                    <a:lumMod val="50000"/>
                  </a:schemeClr>
                </a:solidFill>
                <a:latin typeface="Trebuchet MS" panose="020B0603020202020204" pitchFamily="34" charset="0"/>
                <a:cs typeface="Times New Roman" pitchFamily="18" charset="0"/>
              </a:rPr>
              <a:t>, </a:t>
            </a:r>
            <a:r>
              <a:rPr lang="en-US" sz="1200" dirty="0" err="1">
                <a:solidFill>
                  <a:schemeClr val="tx2">
                    <a:lumMod val="50000"/>
                  </a:schemeClr>
                </a:solidFill>
                <a:latin typeface="Trebuchet MS" panose="020B0603020202020204" pitchFamily="34" charset="0"/>
                <a:cs typeface="Times New Roman" pitchFamily="18" charset="0"/>
              </a:rPr>
              <a:t>Casi</a:t>
            </a:r>
            <a:r>
              <a:rPr lang="en-US" sz="1200" dirty="0">
                <a:solidFill>
                  <a:schemeClr val="tx2">
                    <a:lumMod val="50000"/>
                  </a:schemeClr>
                </a:solidFill>
                <a:latin typeface="Trebuchet MS" panose="020B0603020202020204" pitchFamily="34" charset="0"/>
                <a:cs typeface="Times New Roman" pitchFamily="18" charset="0"/>
              </a:rPr>
              <a:t> </a:t>
            </a:r>
            <a:r>
              <a:rPr lang="en-US" sz="1200" dirty="0" err="1">
                <a:solidFill>
                  <a:schemeClr val="tx2">
                    <a:lumMod val="50000"/>
                  </a:schemeClr>
                </a:solidFill>
                <a:latin typeface="Trebuchet MS" panose="020B0603020202020204" pitchFamily="34" charset="0"/>
                <a:cs typeface="Times New Roman" pitchFamily="18" charset="0"/>
              </a:rPr>
              <a:t>Setianingsih</a:t>
            </a:r>
            <a:r>
              <a:rPr lang="en-US" sz="1200" dirty="0">
                <a:solidFill>
                  <a:schemeClr val="tx2">
                    <a:lumMod val="50000"/>
                  </a:schemeClr>
                </a:solidFill>
                <a:latin typeface="Trebuchet MS" panose="020B0603020202020204" pitchFamily="34" charset="0"/>
                <a:cs typeface="Times New Roman" pitchFamily="18" charset="0"/>
              </a:rPr>
              <a:t>, and </a:t>
            </a:r>
            <a:r>
              <a:rPr lang="en-US" sz="1200" dirty="0" err="1">
                <a:solidFill>
                  <a:schemeClr val="tx2">
                    <a:lumMod val="50000"/>
                  </a:schemeClr>
                </a:solidFill>
                <a:latin typeface="Trebuchet MS" panose="020B0603020202020204" pitchFamily="34" charset="0"/>
                <a:cs typeface="Times New Roman" pitchFamily="18" charset="0"/>
              </a:rPr>
              <a:t>Bagas</a:t>
            </a:r>
            <a:r>
              <a:rPr lang="en-US" sz="1200" dirty="0">
                <a:solidFill>
                  <a:schemeClr val="tx2">
                    <a:lumMod val="50000"/>
                  </a:schemeClr>
                </a:solidFill>
                <a:latin typeface="Trebuchet MS" panose="020B0603020202020204" pitchFamily="34" charset="0"/>
                <a:cs typeface="Times New Roman" pitchFamily="18" charset="0"/>
              </a:rPr>
              <a:t> </a:t>
            </a:r>
            <a:r>
              <a:rPr lang="en-US" sz="1200" dirty="0" err="1">
                <a:solidFill>
                  <a:schemeClr val="tx2">
                    <a:lumMod val="50000"/>
                  </a:schemeClr>
                </a:solidFill>
                <a:latin typeface="Trebuchet MS" panose="020B0603020202020204" pitchFamily="34" charset="0"/>
                <a:cs typeface="Times New Roman" pitchFamily="18" charset="0"/>
              </a:rPr>
              <a:t>Prakoso</a:t>
            </a:r>
            <a:r>
              <a:rPr lang="en-US" sz="1200" dirty="0">
                <a:solidFill>
                  <a:schemeClr val="tx2">
                    <a:lumMod val="50000"/>
                  </a:schemeClr>
                </a:solidFill>
                <a:latin typeface="Trebuchet MS" panose="020B0603020202020204" pitchFamily="34" charset="0"/>
                <a:cs typeface="Times New Roman" pitchFamily="18" charset="0"/>
              </a:rPr>
              <a:t> Putra. “Hate Speech Detection Using Latent Semantic Analysis (LSA) Method Based on Image.” In 2018 International Conference on Control, Electronics, Renewable Energy and Communications (ICCEREC), pp. 166-171. IEEE, 2018.</a:t>
            </a:r>
          </a:p>
          <a:p>
            <a:pPr algn="just"/>
            <a:endParaRPr lang="en-US" sz="1200" dirty="0">
              <a:solidFill>
                <a:schemeClr val="tx2">
                  <a:lumMod val="50000"/>
                </a:schemeClr>
              </a:solidFill>
              <a:latin typeface="Trebuchet MS" panose="020B0603020202020204" pitchFamily="34" charset="0"/>
              <a:cs typeface="Times New Roman" pitchFamily="18" charset="0"/>
            </a:endParaRPr>
          </a:p>
          <a:p>
            <a:pPr algn="just"/>
            <a:r>
              <a:rPr lang="en-US" sz="1200" dirty="0">
                <a:solidFill>
                  <a:schemeClr val="tx2">
                    <a:lumMod val="50000"/>
                  </a:schemeClr>
                </a:solidFill>
                <a:latin typeface="Trebuchet MS" panose="020B0603020202020204" pitchFamily="34" charset="0"/>
                <a:cs typeface="Times New Roman" pitchFamily="18" charset="0"/>
              </a:rPr>
              <a:t>[3]  Chakraborty, Puja, and Md Hanif </a:t>
            </a:r>
            <a:r>
              <a:rPr lang="en-US" sz="1200" dirty="0" err="1">
                <a:solidFill>
                  <a:schemeClr val="tx2">
                    <a:lumMod val="50000"/>
                  </a:schemeClr>
                </a:solidFill>
                <a:latin typeface="Trebuchet MS" panose="020B0603020202020204" pitchFamily="34" charset="0"/>
                <a:cs typeface="Times New Roman" pitchFamily="18" charset="0"/>
              </a:rPr>
              <a:t>Seddiqui</a:t>
            </a:r>
            <a:r>
              <a:rPr lang="en-US" sz="1200" dirty="0">
                <a:solidFill>
                  <a:schemeClr val="tx2">
                    <a:lumMod val="50000"/>
                  </a:schemeClr>
                </a:solidFill>
                <a:latin typeface="Trebuchet MS" panose="020B0603020202020204" pitchFamily="34" charset="0"/>
                <a:cs typeface="Times New Roman" pitchFamily="18" charset="0"/>
              </a:rPr>
              <a:t>. "Threat and Abusive Language Detection on Social Media in Bengali Language." In 2019 1st International Conference on Advances in Science, Engineering and Robotics Technology (ICASERT), pp. 1-6. IEEE, 2019.</a:t>
            </a:r>
          </a:p>
          <a:p>
            <a:pPr algn="just"/>
            <a:endParaRPr lang="en-US" sz="1200" dirty="0">
              <a:solidFill>
                <a:schemeClr val="tx2">
                  <a:lumMod val="50000"/>
                </a:schemeClr>
              </a:solidFill>
              <a:latin typeface="Trebuchet MS" panose="020B0603020202020204" pitchFamily="34" charset="0"/>
              <a:cs typeface="Times New Roman" pitchFamily="18" charset="0"/>
            </a:endParaRPr>
          </a:p>
          <a:p>
            <a:pPr marL="0" indent="0" algn="just"/>
            <a:r>
              <a:rPr lang="en-US" sz="1200" dirty="0">
                <a:solidFill>
                  <a:schemeClr val="tx2">
                    <a:lumMod val="50000"/>
                  </a:schemeClr>
                </a:solidFill>
                <a:latin typeface="Trebuchet MS" panose="020B0603020202020204" pitchFamily="34" charset="0"/>
                <a:cs typeface="Times New Roman" pitchFamily="18" charset="0"/>
              </a:rPr>
              <a:t>[4]   </a:t>
            </a:r>
            <a:r>
              <a:rPr lang="en-US" sz="1200" dirty="0" err="1">
                <a:solidFill>
                  <a:schemeClr val="tx2">
                    <a:lumMod val="50000"/>
                  </a:schemeClr>
                </a:solidFill>
                <a:latin typeface="Trebuchet MS" panose="020B0603020202020204" pitchFamily="34" charset="0"/>
                <a:cs typeface="Times New Roman" pitchFamily="18" charset="0"/>
              </a:rPr>
              <a:t>Raufi</a:t>
            </a:r>
            <a:r>
              <a:rPr lang="en-US" sz="1200" dirty="0">
                <a:solidFill>
                  <a:schemeClr val="tx2">
                    <a:lumMod val="50000"/>
                  </a:schemeClr>
                </a:solidFill>
                <a:latin typeface="Trebuchet MS" panose="020B0603020202020204" pitchFamily="34" charset="0"/>
                <a:cs typeface="Times New Roman" pitchFamily="18" charset="0"/>
              </a:rPr>
              <a:t>, B., &amp; </a:t>
            </a:r>
            <a:r>
              <a:rPr lang="en-US" sz="1200" dirty="0" err="1">
                <a:solidFill>
                  <a:schemeClr val="tx2">
                    <a:lumMod val="50000"/>
                  </a:schemeClr>
                </a:solidFill>
                <a:latin typeface="Trebuchet MS" panose="020B0603020202020204" pitchFamily="34" charset="0"/>
                <a:cs typeface="Times New Roman" pitchFamily="18" charset="0"/>
              </a:rPr>
              <a:t>Xhaferri</a:t>
            </a:r>
            <a:r>
              <a:rPr lang="en-US" sz="1200" dirty="0">
                <a:solidFill>
                  <a:schemeClr val="tx2">
                    <a:lumMod val="50000"/>
                  </a:schemeClr>
                </a:solidFill>
                <a:latin typeface="Trebuchet MS" panose="020B0603020202020204" pitchFamily="34" charset="0"/>
                <a:cs typeface="Times New Roman" pitchFamily="18" charset="0"/>
              </a:rPr>
              <a:t>, I. (2018). ​Application of Machine Learning Techniques for Hate Speech Detection in Mobile Applications. 2018 International Conference on Information Technologies (InfoTech).​ doi:10.1109/infotech.2018.8510738</a:t>
            </a:r>
          </a:p>
          <a:p>
            <a:pPr marL="0" indent="0" algn="just"/>
            <a:endParaRPr lang="en-US" sz="1200" dirty="0">
              <a:solidFill>
                <a:schemeClr val="tx2">
                  <a:lumMod val="50000"/>
                </a:schemeClr>
              </a:solidFill>
              <a:latin typeface="Trebuchet MS" panose="020B0603020202020204" pitchFamily="34" charset="0"/>
              <a:cs typeface="Times New Roman" pitchFamily="18" charset="0"/>
            </a:endParaRPr>
          </a:p>
          <a:p>
            <a:pPr algn="just"/>
            <a:r>
              <a:rPr lang="en-US" sz="1200" dirty="0">
                <a:solidFill>
                  <a:schemeClr val="tx2">
                    <a:lumMod val="50000"/>
                  </a:schemeClr>
                </a:solidFill>
                <a:latin typeface="Trebuchet MS" panose="020B0603020202020204" pitchFamily="34" charset="0"/>
                <a:cs typeface="Times New Roman" pitchFamily="18" charset="0"/>
              </a:rPr>
              <a:t>[5] Watanabe, H., Bouazizi, M., &amp; </a:t>
            </a:r>
            <a:r>
              <a:rPr lang="en-US" sz="1200" dirty="0" err="1">
                <a:solidFill>
                  <a:schemeClr val="tx2">
                    <a:lumMod val="50000"/>
                  </a:schemeClr>
                </a:solidFill>
                <a:latin typeface="Trebuchet MS" panose="020B0603020202020204" pitchFamily="34" charset="0"/>
                <a:cs typeface="Times New Roman" pitchFamily="18" charset="0"/>
              </a:rPr>
              <a:t>Ohtsuki</a:t>
            </a:r>
            <a:r>
              <a:rPr lang="en-US" sz="1200" dirty="0">
                <a:solidFill>
                  <a:schemeClr val="tx2">
                    <a:lumMod val="50000"/>
                  </a:schemeClr>
                </a:solidFill>
                <a:latin typeface="Trebuchet MS" panose="020B0603020202020204" pitchFamily="34" charset="0"/>
                <a:cs typeface="Times New Roman" pitchFamily="18" charset="0"/>
              </a:rPr>
              <a:t>, T. (2018). Hate Speech on Twitter: A Pragmatic Approach to Collect Hateful and Offensive Expressions and Perform Hate Speech Detection. IEEE Access, 6, 13825–13835. doi:10.1109/access.2018.2806394.</a:t>
            </a:r>
          </a:p>
          <a:p>
            <a:pPr algn="just"/>
            <a:endParaRPr lang="en-US" sz="1200" dirty="0">
              <a:solidFill>
                <a:schemeClr val="tx2">
                  <a:lumMod val="50000"/>
                </a:schemeClr>
              </a:solidFill>
              <a:latin typeface="Trebuchet MS" panose="020B0603020202020204" pitchFamily="34" charset="0"/>
              <a:cs typeface="Times New Roman" pitchFamily="18" charset="0"/>
            </a:endParaRPr>
          </a:p>
          <a:p>
            <a:endParaRPr lang="en-US" sz="1200" dirty="0">
              <a:latin typeface="Trebuchet MS" panose="020B0603020202020204" pitchFamily="34" charset="0"/>
            </a:endParaRPr>
          </a:p>
        </p:txBody>
      </p:sp>
      <p:pic>
        <p:nvPicPr>
          <p:cNvPr id="4" name="Google Shape;108;p1">
            <a:extLst>
              <a:ext uri="{FF2B5EF4-FFF2-40B4-BE49-F238E27FC236}">
                <a16:creationId xmlns:a16="http://schemas.microsoft.com/office/drawing/2014/main" id="{4DFA62EC-9F17-406F-9A27-BB357CE93D34}"/>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4266655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3333750"/>
            <a:ext cx="6166485" cy="225425"/>
          </a:xfrm>
          <a:custGeom>
            <a:avLst/>
            <a:gdLst/>
            <a:ahLst/>
            <a:cxnLst/>
            <a:rect l="l" t="t" r="r" b="b"/>
            <a:pathLst>
              <a:path w="6166485" h="225425">
                <a:moveTo>
                  <a:pt x="6166485" y="112547"/>
                </a:moveTo>
                <a:lnTo>
                  <a:pt x="5971946" y="0"/>
                </a:lnTo>
                <a:lnTo>
                  <a:pt x="5998718" y="86702"/>
                </a:lnTo>
                <a:lnTo>
                  <a:pt x="0" y="86702"/>
                </a:lnTo>
                <a:lnTo>
                  <a:pt x="0" y="151053"/>
                </a:lnTo>
                <a:lnTo>
                  <a:pt x="5994806" y="151053"/>
                </a:lnTo>
                <a:lnTo>
                  <a:pt x="5971946" y="225056"/>
                </a:lnTo>
                <a:lnTo>
                  <a:pt x="6166485" y="112547"/>
                </a:lnTo>
                <a:close/>
              </a:path>
            </a:pathLst>
          </a:custGeom>
          <a:solidFill>
            <a:srgbClr val="CECECE"/>
          </a:solidFill>
        </p:spPr>
        <p:txBody>
          <a:bodyPr wrap="square" lIns="0" tIns="0" rIns="0" bIns="0" rtlCol="0"/>
          <a:lstStyle/>
          <a:p>
            <a:endParaRPr/>
          </a:p>
        </p:txBody>
      </p:sp>
      <p:grpSp>
        <p:nvGrpSpPr>
          <p:cNvPr id="3" name="object 3"/>
          <p:cNvGrpSpPr/>
          <p:nvPr/>
        </p:nvGrpSpPr>
        <p:grpSpPr>
          <a:xfrm>
            <a:off x="-38" y="1653860"/>
            <a:ext cx="5146675" cy="1628775"/>
            <a:chOff x="0" y="1128435"/>
            <a:chExt cx="5146675" cy="1628775"/>
          </a:xfrm>
        </p:grpSpPr>
        <p:sp>
          <p:nvSpPr>
            <p:cNvPr id="4" name="object 4"/>
            <p:cNvSpPr/>
            <p:nvPr/>
          </p:nvSpPr>
          <p:spPr>
            <a:xfrm>
              <a:off x="0" y="1128445"/>
              <a:ext cx="3446779" cy="1404620"/>
            </a:xfrm>
            <a:custGeom>
              <a:avLst/>
              <a:gdLst/>
              <a:ahLst/>
              <a:cxnLst/>
              <a:rect l="l" t="t" r="r" b="b"/>
              <a:pathLst>
                <a:path w="3446779" h="1404620">
                  <a:moveTo>
                    <a:pt x="3446234" y="112522"/>
                  </a:moveTo>
                  <a:lnTo>
                    <a:pt x="3225685" y="0"/>
                  </a:lnTo>
                  <a:lnTo>
                    <a:pt x="3251949" y="75031"/>
                  </a:lnTo>
                  <a:lnTo>
                    <a:pt x="3078746" y="75031"/>
                  </a:lnTo>
                  <a:lnTo>
                    <a:pt x="2354567" y="1328064"/>
                  </a:lnTo>
                  <a:lnTo>
                    <a:pt x="0" y="1328064"/>
                  </a:lnTo>
                  <a:lnTo>
                    <a:pt x="0" y="1404124"/>
                  </a:lnTo>
                  <a:lnTo>
                    <a:pt x="2382494" y="1404124"/>
                  </a:lnTo>
                  <a:lnTo>
                    <a:pt x="3106686" y="151053"/>
                  </a:lnTo>
                  <a:lnTo>
                    <a:pt x="3251593" y="151053"/>
                  </a:lnTo>
                  <a:lnTo>
                    <a:pt x="3225685" y="225082"/>
                  </a:lnTo>
                  <a:lnTo>
                    <a:pt x="3446234" y="112522"/>
                  </a:lnTo>
                  <a:close/>
                </a:path>
              </a:pathLst>
            </a:custGeom>
            <a:solidFill>
              <a:srgbClr val="F1A365"/>
            </a:solidFill>
          </p:spPr>
          <p:txBody>
            <a:bodyPr wrap="square" lIns="0" tIns="0" rIns="0" bIns="0" rtlCol="0"/>
            <a:lstStyle/>
            <a:p>
              <a:endParaRPr/>
            </a:p>
          </p:txBody>
        </p:sp>
        <p:sp>
          <p:nvSpPr>
            <p:cNvPr id="5" name="object 5"/>
            <p:cNvSpPr/>
            <p:nvPr/>
          </p:nvSpPr>
          <p:spPr>
            <a:xfrm>
              <a:off x="0" y="1853666"/>
              <a:ext cx="5146675" cy="902969"/>
            </a:xfrm>
            <a:custGeom>
              <a:avLst/>
              <a:gdLst/>
              <a:ahLst/>
              <a:cxnLst/>
              <a:rect l="l" t="t" r="r" b="b"/>
              <a:pathLst>
                <a:path w="5146675" h="902969">
                  <a:moveTo>
                    <a:pt x="5146662" y="125120"/>
                  </a:moveTo>
                  <a:lnTo>
                    <a:pt x="4947869" y="0"/>
                  </a:lnTo>
                  <a:lnTo>
                    <a:pt x="4971567" y="83413"/>
                  </a:lnTo>
                  <a:lnTo>
                    <a:pt x="3293643" y="83413"/>
                  </a:lnTo>
                  <a:lnTo>
                    <a:pt x="2889745" y="818388"/>
                  </a:lnTo>
                  <a:lnTo>
                    <a:pt x="0" y="818388"/>
                  </a:lnTo>
                  <a:lnTo>
                    <a:pt x="0" y="902919"/>
                  </a:lnTo>
                  <a:lnTo>
                    <a:pt x="2919768" y="902919"/>
                  </a:lnTo>
                  <a:lnTo>
                    <a:pt x="3323666" y="167957"/>
                  </a:lnTo>
                  <a:lnTo>
                    <a:pt x="4971351" y="167957"/>
                  </a:lnTo>
                  <a:lnTo>
                    <a:pt x="4947869" y="251371"/>
                  </a:lnTo>
                  <a:lnTo>
                    <a:pt x="5146662" y="125120"/>
                  </a:lnTo>
                  <a:close/>
                </a:path>
              </a:pathLst>
            </a:custGeom>
            <a:solidFill>
              <a:srgbClr val="222831"/>
            </a:solidFill>
          </p:spPr>
          <p:txBody>
            <a:bodyPr wrap="square" lIns="0" tIns="0" rIns="0" bIns="0" rtlCol="0"/>
            <a:lstStyle/>
            <a:p>
              <a:endParaRPr/>
            </a:p>
          </p:txBody>
        </p:sp>
      </p:grpSp>
      <p:grpSp>
        <p:nvGrpSpPr>
          <p:cNvPr id="6" name="object 6"/>
          <p:cNvGrpSpPr/>
          <p:nvPr/>
        </p:nvGrpSpPr>
        <p:grpSpPr>
          <a:xfrm>
            <a:off x="-38" y="2500299"/>
            <a:ext cx="4028440" cy="1928495"/>
            <a:chOff x="0" y="1974874"/>
            <a:chExt cx="4028440" cy="1928495"/>
          </a:xfrm>
        </p:grpSpPr>
        <p:sp>
          <p:nvSpPr>
            <p:cNvPr id="7" name="object 7"/>
            <p:cNvSpPr/>
            <p:nvPr/>
          </p:nvSpPr>
          <p:spPr>
            <a:xfrm>
              <a:off x="0" y="3091179"/>
              <a:ext cx="4028440" cy="812165"/>
            </a:xfrm>
            <a:custGeom>
              <a:avLst/>
              <a:gdLst/>
              <a:ahLst/>
              <a:cxnLst/>
              <a:rect l="l" t="t" r="r" b="b"/>
              <a:pathLst>
                <a:path w="4028440" h="812164">
                  <a:moveTo>
                    <a:pt x="4027995" y="698500"/>
                  </a:moveTo>
                  <a:lnTo>
                    <a:pt x="3846512" y="585978"/>
                  </a:lnTo>
                  <a:lnTo>
                    <a:pt x="3868140" y="660996"/>
                  </a:lnTo>
                  <a:lnTo>
                    <a:pt x="2576131" y="660996"/>
                  </a:lnTo>
                  <a:lnTo>
                    <a:pt x="2263711" y="0"/>
                  </a:lnTo>
                  <a:lnTo>
                    <a:pt x="0" y="0"/>
                  </a:lnTo>
                  <a:lnTo>
                    <a:pt x="0" y="76034"/>
                  </a:lnTo>
                  <a:lnTo>
                    <a:pt x="2239810" y="76034"/>
                  </a:lnTo>
                  <a:lnTo>
                    <a:pt x="2552877" y="737019"/>
                  </a:lnTo>
                  <a:lnTo>
                    <a:pt x="3867950" y="737019"/>
                  </a:lnTo>
                  <a:lnTo>
                    <a:pt x="3846512" y="812050"/>
                  </a:lnTo>
                  <a:lnTo>
                    <a:pt x="4027995" y="698500"/>
                  </a:lnTo>
                  <a:close/>
                </a:path>
              </a:pathLst>
            </a:custGeom>
            <a:solidFill>
              <a:srgbClr val="30475E"/>
            </a:solidFill>
          </p:spPr>
          <p:txBody>
            <a:bodyPr wrap="square" lIns="0" tIns="0" rIns="0" bIns="0" rtlCol="0"/>
            <a:lstStyle/>
            <a:p>
              <a:endParaRPr/>
            </a:p>
          </p:txBody>
        </p:sp>
        <p:sp>
          <p:nvSpPr>
            <p:cNvPr id="8" name="object 8"/>
            <p:cNvSpPr/>
            <p:nvPr/>
          </p:nvSpPr>
          <p:spPr>
            <a:xfrm>
              <a:off x="250924" y="1974874"/>
              <a:ext cx="1576070" cy="1592580"/>
            </a:xfrm>
            <a:custGeom>
              <a:avLst/>
              <a:gdLst/>
              <a:ahLst/>
              <a:cxnLst/>
              <a:rect l="l" t="t" r="r" b="b"/>
              <a:pathLst>
                <a:path w="1576070" h="1592579">
                  <a:moveTo>
                    <a:pt x="787889" y="1592284"/>
                  </a:moveTo>
                  <a:lnTo>
                    <a:pt x="739926" y="1590830"/>
                  </a:lnTo>
                  <a:lnTo>
                    <a:pt x="692718" y="1586523"/>
                  </a:lnTo>
                  <a:lnTo>
                    <a:pt x="646349" y="1579446"/>
                  </a:lnTo>
                  <a:lnTo>
                    <a:pt x="600901" y="1569684"/>
                  </a:lnTo>
                  <a:lnTo>
                    <a:pt x="556456" y="1557320"/>
                  </a:lnTo>
                  <a:lnTo>
                    <a:pt x="513098" y="1542438"/>
                  </a:lnTo>
                  <a:lnTo>
                    <a:pt x="470908" y="1525120"/>
                  </a:lnTo>
                  <a:lnTo>
                    <a:pt x="429971" y="1505451"/>
                  </a:lnTo>
                  <a:lnTo>
                    <a:pt x="390368" y="1483515"/>
                  </a:lnTo>
                  <a:lnTo>
                    <a:pt x="352182" y="1459394"/>
                  </a:lnTo>
                  <a:lnTo>
                    <a:pt x="315497" y="1433173"/>
                  </a:lnTo>
                  <a:lnTo>
                    <a:pt x="280393" y="1404934"/>
                  </a:lnTo>
                  <a:lnTo>
                    <a:pt x="246955" y="1374762"/>
                  </a:lnTo>
                  <a:lnTo>
                    <a:pt x="215266" y="1342741"/>
                  </a:lnTo>
                  <a:lnTo>
                    <a:pt x="185406" y="1308953"/>
                  </a:lnTo>
                  <a:lnTo>
                    <a:pt x="157461" y="1273482"/>
                  </a:lnTo>
                  <a:lnTo>
                    <a:pt x="131511" y="1236413"/>
                  </a:lnTo>
                  <a:lnTo>
                    <a:pt x="107641" y="1197827"/>
                  </a:lnTo>
                  <a:lnTo>
                    <a:pt x="85931" y="1157810"/>
                  </a:lnTo>
                  <a:lnTo>
                    <a:pt x="66467" y="1116445"/>
                  </a:lnTo>
                  <a:lnTo>
                    <a:pt x="49329" y="1073814"/>
                  </a:lnTo>
                  <a:lnTo>
                    <a:pt x="34600" y="1030003"/>
                  </a:lnTo>
                  <a:lnTo>
                    <a:pt x="22365" y="985094"/>
                  </a:lnTo>
                  <a:lnTo>
                    <a:pt x="12704" y="939171"/>
                  </a:lnTo>
                  <a:lnTo>
                    <a:pt x="5701" y="892317"/>
                  </a:lnTo>
                  <a:lnTo>
                    <a:pt x="1439" y="844616"/>
                  </a:lnTo>
                  <a:lnTo>
                    <a:pt x="0" y="796153"/>
                  </a:lnTo>
                  <a:lnTo>
                    <a:pt x="1439" y="747616"/>
                  </a:lnTo>
                  <a:lnTo>
                    <a:pt x="5701" y="699854"/>
                  </a:lnTo>
                  <a:lnTo>
                    <a:pt x="12704" y="652949"/>
                  </a:lnTo>
                  <a:lnTo>
                    <a:pt x="22365" y="606984"/>
                  </a:lnTo>
                  <a:lnTo>
                    <a:pt x="34600" y="562042"/>
                  </a:lnTo>
                  <a:lnTo>
                    <a:pt x="49329" y="518205"/>
                  </a:lnTo>
                  <a:lnTo>
                    <a:pt x="66467" y="475558"/>
                  </a:lnTo>
                  <a:lnTo>
                    <a:pt x="85931" y="434182"/>
                  </a:lnTo>
                  <a:lnTo>
                    <a:pt x="107641" y="394160"/>
                  </a:lnTo>
                  <a:lnTo>
                    <a:pt x="131511" y="355577"/>
                  </a:lnTo>
                  <a:lnTo>
                    <a:pt x="157461" y="318514"/>
                  </a:lnTo>
                  <a:lnTo>
                    <a:pt x="185406" y="283055"/>
                  </a:lnTo>
                  <a:lnTo>
                    <a:pt x="215266" y="249282"/>
                  </a:lnTo>
                  <a:lnTo>
                    <a:pt x="246955" y="217278"/>
                  </a:lnTo>
                  <a:lnTo>
                    <a:pt x="280393" y="187127"/>
                  </a:lnTo>
                  <a:lnTo>
                    <a:pt x="315497" y="158912"/>
                  </a:lnTo>
                  <a:lnTo>
                    <a:pt x="352182" y="132715"/>
                  </a:lnTo>
                  <a:lnTo>
                    <a:pt x="390368" y="108619"/>
                  </a:lnTo>
                  <a:lnTo>
                    <a:pt x="429971" y="86707"/>
                  </a:lnTo>
                  <a:lnTo>
                    <a:pt x="470908" y="67062"/>
                  </a:lnTo>
                  <a:lnTo>
                    <a:pt x="513098" y="49768"/>
                  </a:lnTo>
                  <a:lnTo>
                    <a:pt x="556456" y="34906"/>
                  </a:lnTo>
                  <a:lnTo>
                    <a:pt x="600901" y="22561"/>
                  </a:lnTo>
                  <a:lnTo>
                    <a:pt x="646349" y="12815"/>
                  </a:lnTo>
                  <a:lnTo>
                    <a:pt x="692718" y="5751"/>
                  </a:lnTo>
                  <a:lnTo>
                    <a:pt x="739926" y="1451"/>
                  </a:lnTo>
                  <a:lnTo>
                    <a:pt x="787889" y="0"/>
                  </a:lnTo>
                  <a:lnTo>
                    <a:pt x="835921" y="1451"/>
                  </a:lnTo>
                  <a:lnTo>
                    <a:pt x="883187" y="5751"/>
                  </a:lnTo>
                  <a:lnTo>
                    <a:pt x="929605" y="12815"/>
                  </a:lnTo>
                  <a:lnTo>
                    <a:pt x="975092" y="22561"/>
                  </a:lnTo>
                  <a:lnTo>
                    <a:pt x="1019568" y="34906"/>
                  </a:lnTo>
                  <a:lnTo>
                    <a:pt x="1062948" y="49768"/>
                  </a:lnTo>
                  <a:lnTo>
                    <a:pt x="1105152" y="67062"/>
                  </a:lnTo>
                  <a:lnTo>
                    <a:pt x="1146098" y="86707"/>
                  </a:lnTo>
                  <a:lnTo>
                    <a:pt x="1185703" y="108619"/>
                  </a:lnTo>
                  <a:lnTo>
                    <a:pt x="1223885" y="132715"/>
                  </a:lnTo>
                  <a:lnTo>
                    <a:pt x="1260562" y="158912"/>
                  </a:lnTo>
                  <a:lnTo>
                    <a:pt x="1295652" y="187127"/>
                  </a:lnTo>
                  <a:lnTo>
                    <a:pt x="1329073" y="217278"/>
                  </a:lnTo>
                  <a:lnTo>
                    <a:pt x="1360743" y="249282"/>
                  </a:lnTo>
                  <a:lnTo>
                    <a:pt x="1390580" y="283055"/>
                  </a:lnTo>
                  <a:lnTo>
                    <a:pt x="1418501" y="318514"/>
                  </a:lnTo>
                  <a:lnTo>
                    <a:pt x="1444425" y="355577"/>
                  </a:lnTo>
                  <a:lnTo>
                    <a:pt x="1468270" y="394160"/>
                  </a:lnTo>
                  <a:lnTo>
                    <a:pt x="1489954" y="434182"/>
                  </a:lnTo>
                  <a:lnTo>
                    <a:pt x="1509393" y="475558"/>
                  </a:lnTo>
                  <a:lnTo>
                    <a:pt x="1526507" y="518205"/>
                  </a:lnTo>
                  <a:lnTo>
                    <a:pt x="1541214" y="562042"/>
                  </a:lnTo>
                  <a:lnTo>
                    <a:pt x="1553430" y="606984"/>
                  </a:lnTo>
                  <a:lnTo>
                    <a:pt x="1563075" y="652949"/>
                  </a:lnTo>
                  <a:lnTo>
                    <a:pt x="1570065" y="699854"/>
                  </a:lnTo>
                  <a:lnTo>
                    <a:pt x="1574320" y="747616"/>
                  </a:lnTo>
                  <a:lnTo>
                    <a:pt x="1575756" y="796153"/>
                  </a:lnTo>
                  <a:lnTo>
                    <a:pt x="1574320" y="844616"/>
                  </a:lnTo>
                  <a:lnTo>
                    <a:pt x="1570065" y="892317"/>
                  </a:lnTo>
                  <a:lnTo>
                    <a:pt x="1563075" y="939171"/>
                  </a:lnTo>
                  <a:lnTo>
                    <a:pt x="1553430" y="985094"/>
                  </a:lnTo>
                  <a:lnTo>
                    <a:pt x="1541214" y="1030003"/>
                  </a:lnTo>
                  <a:lnTo>
                    <a:pt x="1526507" y="1073814"/>
                  </a:lnTo>
                  <a:lnTo>
                    <a:pt x="1509393" y="1116445"/>
                  </a:lnTo>
                  <a:lnTo>
                    <a:pt x="1489954" y="1157810"/>
                  </a:lnTo>
                  <a:lnTo>
                    <a:pt x="1468270" y="1197827"/>
                  </a:lnTo>
                  <a:lnTo>
                    <a:pt x="1444425" y="1236413"/>
                  </a:lnTo>
                  <a:lnTo>
                    <a:pt x="1418501" y="1273482"/>
                  </a:lnTo>
                  <a:lnTo>
                    <a:pt x="1390580" y="1308953"/>
                  </a:lnTo>
                  <a:lnTo>
                    <a:pt x="1360743" y="1342741"/>
                  </a:lnTo>
                  <a:lnTo>
                    <a:pt x="1329073" y="1374762"/>
                  </a:lnTo>
                  <a:lnTo>
                    <a:pt x="1295652" y="1404934"/>
                  </a:lnTo>
                  <a:lnTo>
                    <a:pt x="1260562" y="1433173"/>
                  </a:lnTo>
                  <a:lnTo>
                    <a:pt x="1223885" y="1459394"/>
                  </a:lnTo>
                  <a:lnTo>
                    <a:pt x="1185703" y="1483515"/>
                  </a:lnTo>
                  <a:lnTo>
                    <a:pt x="1146098" y="1505451"/>
                  </a:lnTo>
                  <a:lnTo>
                    <a:pt x="1105152" y="1525120"/>
                  </a:lnTo>
                  <a:lnTo>
                    <a:pt x="1062948" y="1542438"/>
                  </a:lnTo>
                  <a:lnTo>
                    <a:pt x="1019568" y="1557320"/>
                  </a:lnTo>
                  <a:lnTo>
                    <a:pt x="975092" y="1569684"/>
                  </a:lnTo>
                  <a:lnTo>
                    <a:pt x="929605" y="1579446"/>
                  </a:lnTo>
                  <a:lnTo>
                    <a:pt x="883187" y="1586523"/>
                  </a:lnTo>
                  <a:lnTo>
                    <a:pt x="835921" y="1590830"/>
                  </a:lnTo>
                  <a:lnTo>
                    <a:pt x="787889" y="1592284"/>
                  </a:lnTo>
                  <a:close/>
                </a:path>
              </a:pathLst>
            </a:custGeom>
            <a:solidFill>
              <a:srgbClr val="233544"/>
            </a:solidFill>
          </p:spPr>
          <p:txBody>
            <a:bodyPr wrap="square" lIns="0" tIns="0" rIns="0" bIns="0" rtlCol="0"/>
            <a:lstStyle/>
            <a:p>
              <a:endParaRPr/>
            </a:p>
          </p:txBody>
        </p:sp>
      </p:grpSp>
      <p:sp>
        <p:nvSpPr>
          <p:cNvPr id="9" name="object 9"/>
          <p:cNvSpPr txBox="1">
            <a:spLocks noGrp="1"/>
          </p:cNvSpPr>
          <p:nvPr>
            <p:ph type="title"/>
          </p:nvPr>
        </p:nvSpPr>
        <p:spPr>
          <a:xfrm>
            <a:off x="601567" y="2870484"/>
            <a:ext cx="875030" cy="821690"/>
          </a:xfrm>
          <a:prstGeom prst="rect">
            <a:avLst/>
          </a:prstGeom>
        </p:spPr>
        <p:txBody>
          <a:bodyPr vert="horz" wrap="square" lIns="0" tIns="8255" rIns="0" bIns="0" rtlCol="0">
            <a:spAutoFit/>
          </a:bodyPr>
          <a:lstStyle/>
          <a:p>
            <a:pPr marL="12700" marR="5080" indent="77470">
              <a:lnSpc>
                <a:spcPct val="101000"/>
              </a:lnSpc>
              <a:spcBef>
                <a:spcPts val="65"/>
              </a:spcBef>
            </a:pPr>
            <a:r>
              <a:rPr sz="2600" spc="-60" dirty="0">
                <a:solidFill>
                  <a:srgbClr val="FFFFFF"/>
                </a:solidFill>
              </a:rPr>
              <a:t>Next </a:t>
            </a:r>
            <a:r>
              <a:rPr sz="2600" spc="-770" dirty="0">
                <a:solidFill>
                  <a:srgbClr val="FFFFFF"/>
                </a:solidFill>
              </a:rPr>
              <a:t> </a:t>
            </a:r>
            <a:r>
              <a:rPr sz="2600" spc="70" dirty="0">
                <a:solidFill>
                  <a:srgbClr val="FFFFFF"/>
                </a:solidFill>
              </a:rPr>
              <a:t>S</a:t>
            </a:r>
            <a:r>
              <a:rPr sz="2600" spc="10" dirty="0">
                <a:solidFill>
                  <a:srgbClr val="FFFFFF"/>
                </a:solidFill>
              </a:rPr>
              <a:t>t</a:t>
            </a:r>
            <a:r>
              <a:rPr sz="2600" spc="35" dirty="0">
                <a:solidFill>
                  <a:srgbClr val="FFFFFF"/>
                </a:solidFill>
              </a:rPr>
              <a:t>eps</a:t>
            </a:r>
            <a:endParaRPr sz="2600" dirty="0"/>
          </a:p>
        </p:txBody>
      </p:sp>
      <p:pic>
        <p:nvPicPr>
          <p:cNvPr id="10" name="object 10"/>
          <p:cNvPicPr/>
          <p:nvPr/>
        </p:nvPicPr>
        <p:blipFill>
          <a:blip r:embed="rId3" cstate="print"/>
          <a:stretch>
            <a:fillRect/>
          </a:stretch>
        </p:blipFill>
        <p:spPr>
          <a:xfrm>
            <a:off x="6212505" y="3025585"/>
            <a:ext cx="1865576" cy="864297"/>
          </a:xfrm>
          <a:prstGeom prst="rect">
            <a:avLst/>
          </a:prstGeom>
        </p:spPr>
      </p:pic>
      <p:grpSp>
        <p:nvGrpSpPr>
          <p:cNvPr id="11" name="object 11"/>
          <p:cNvGrpSpPr/>
          <p:nvPr/>
        </p:nvGrpSpPr>
        <p:grpSpPr>
          <a:xfrm>
            <a:off x="3478323" y="1176773"/>
            <a:ext cx="3666970" cy="3552981"/>
            <a:chOff x="3478361" y="651348"/>
            <a:chExt cx="3666970" cy="3552981"/>
          </a:xfrm>
        </p:grpSpPr>
        <p:pic>
          <p:nvPicPr>
            <p:cNvPr id="12" name="object 12"/>
            <p:cNvPicPr/>
            <p:nvPr/>
          </p:nvPicPr>
          <p:blipFill>
            <a:blip r:embed="rId4" cstate="print"/>
            <a:stretch>
              <a:fillRect/>
            </a:stretch>
          </p:blipFill>
          <p:spPr>
            <a:xfrm>
              <a:off x="3478361" y="651348"/>
              <a:ext cx="3666970" cy="1643652"/>
            </a:xfrm>
            <a:prstGeom prst="rect">
              <a:avLst/>
            </a:prstGeom>
          </p:spPr>
        </p:pic>
        <p:pic>
          <p:nvPicPr>
            <p:cNvPr id="13" name="object 13"/>
            <p:cNvPicPr/>
            <p:nvPr/>
          </p:nvPicPr>
          <p:blipFill>
            <a:blip r:embed="rId5" cstate="print"/>
            <a:stretch>
              <a:fillRect/>
            </a:stretch>
          </p:blipFill>
          <p:spPr>
            <a:xfrm>
              <a:off x="4102169" y="3340025"/>
              <a:ext cx="2064354" cy="864304"/>
            </a:xfrm>
            <a:prstGeom prst="rect">
              <a:avLst/>
            </a:prstGeom>
          </p:spPr>
        </p:pic>
      </p:grpSp>
      <p:sp>
        <p:nvSpPr>
          <p:cNvPr id="14" name="Title 1">
            <a:extLst>
              <a:ext uri="{FF2B5EF4-FFF2-40B4-BE49-F238E27FC236}">
                <a16:creationId xmlns:a16="http://schemas.microsoft.com/office/drawing/2014/main" id="{5874C3DE-3DBC-4C53-B86E-C4E7B845AE80}"/>
              </a:ext>
            </a:extLst>
          </p:cNvPr>
          <p:cNvSpPr txBox="1">
            <a:spLocks/>
          </p:cNvSpPr>
          <p:nvPr/>
        </p:nvSpPr>
        <p:spPr>
          <a:xfrm>
            <a:off x="3298080" y="293351"/>
            <a:ext cx="2547839" cy="492443"/>
          </a:xfrm>
          <a:prstGeom prst="rect">
            <a:avLst/>
          </a:prstGeom>
        </p:spPr>
        <p:txBody>
          <a:bodyPr wrap="square" lIns="0" tIns="0" rIns="0" bIns="0">
            <a:spAutoFit/>
          </a:bodyPr>
          <a:lstStyle>
            <a:lvl1pPr>
              <a:defRPr sz="2800" b="1" i="0">
                <a:solidFill>
                  <a:schemeClr val="tx1"/>
                </a:solidFill>
                <a:latin typeface="Trebuchet MS"/>
                <a:ea typeface="+mj-ea"/>
                <a:cs typeface="Trebuchet MS"/>
              </a:defRPr>
            </a:lvl1pPr>
          </a:lstStyle>
          <a:p>
            <a:r>
              <a:rPr lang="en-US" sz="3200" kern="0" dirty="0"/>
              <a:t>Future Scope</a:t>
            </a:r>
          </a:p>
        </p:txBody>
      </p:sp>
      <p:pic>
        <p:nvPicPr>
          <p:cNvPr id="15" name="Google Shape;108;p1">
            <a:extLst>
              <a:ext uri="{FF2B5EF4-FFF2-40B4-BE49-F238E27FC236}">
                <a16:creationId xmlns:a16="http://schemas.microsoft.com/office/drawing/2014/main" id="{171BC313-DD44-4E21-BE29-948C1B6E0886}"/>
              </a:ext>
            </a:extLst>
          </p:cNvPr>
          <p:cNvPicPr preferRelativeResize="0"/>
          <p:nvPr/>
        </p:nvPicPr>
        <p:blipFill rotWithShape="1">
          <a:blip r:embed="rId6">
            <a:alphaModFix/>
          </a:blip>
          <a:srcRect/>
          <a:stretch/>
        </p:blipFill>
        <p:spPr>
          <a:xfrm>
            <a:off x="8712986" y="4782288"/>
            <a:ext cx="346788" cy="335193"/>
          </a:xfrm>
          <a:prstGeom prst="rect">
            <a:avLst/>
          </a:prstGeom>
          <a:noFill/>
          <a:ln>
            <a:noFill/>
          </a:ln>
        </p:spPr>
      </p:pic>
      <p:sp>
        <p:nvSpPr>
          <p:cNvPr id="16" name="Rectangle 15">
            <a:extLst>
              <a:ext uri="{FF2B5EF4-FFF2-40B4-BE49-F238E27FC236}">
                <a16:creationId xmlns:a16="http://schemas.microsoft.com/office/drawing/2014/main" id="{8E6F9BFB-128F-4250-A845-588CEDE58776}"/>
              </a:ext>
            </a:extLst>
          </p:cNvPr>
          <p:cNvSpPr/>
          <p:nvPr/>
        </p:nvSpPr>
        <p:spPr>
          <a:xfrm>
            <a:off x="4419599" y="4007281"/>
            <a:ext cx="1712249" cy="614427"/>
          </a:xfrm>
          <a:prstGeom prst="rect">
            <a:avLst/>
          </a:prstGeom>
          <a:solidFill>
            <a:srgbClr val="D0E0E3"/>
          </a:solidFill>
          <a:ln>
            <a:solidFill>
              <a:srgbClr val="D0E0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1C1C1C"/>
                </a:solidFill>
                <a:latin typeface="Franklin Gothic Medium Cond" panose="020B0606030402020204" pitchFamily="34" charset="0"/>
              </a:rPr>
              <a:t>Hate Speech in image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5">
            <a:extLst>
              <a:ext uri="{FF2B5EF4-FFF2-40B4-BE49-F238E27FC236}">
                <a16:creationId xmlns:a16="http://schemas.microsoft.com/office/drawing/2014/main" id="{73040E1B-A474-4F89-B6DF-72E2CDF70BC3}"/>
              </a:ext>
            </a:extLst>
          </p:cNvPr>
          <p:cNvPicPr/>
          <p:nvPr/>
        </p:nvPicPr>
        <p:blipFill>
          <a:blip r:embed="rId2" cstate="print"/>
          <a:stretch>
            <a:fillRect/>
          </a:stretch>
        </p:blipFill>
        <p:spPr>
          <a:xfrm>
            <a:off x="7422500" y="837529"/>
            <a:ext cx="1281224" cy="1215820"/>
          </a:xfrm>
          <a:prstGeom prst="rect">
            <a:avLst/>
          </a:prstGeom>
        </p:spPr>
      </p:pic>
      <p:grpSp>
        <p:nvGrpSpPr>
          <p:cNvPr id="4" name="object 6">
            <a:extLst>
              <a:ext uri="{FF2B5EF4-FFF2-40B4-BE49-F238E27FC236}">
                <a16:creationId xmlns:a16="http://schemas.microsoft.com/office/drawing/2014/main" id="{64649D03-882A-45B5-8D38-5A3D399D28B9}"/>
              </a:ext>
            </a:extLst>
          </p:cNvPr>
          <p:cNvGrpSpPr/>
          <p:nvPr/>
        </p:nvGrpSpPr>
        <p:grpSpPr>
          <a:xfrm>
            <a:off x="5672687" y="1059775"/>
            <a:ext cx="1216025" cy="1216025"/>
            <a:chOff x="5672687" y="1059775"/>
            <a:chExt cx="1216025" cy="1216025"/>
          </a:xfrm>
        </p:grpSpPr>
        <p:pic>
          <p:nvPicPr>
            <p:cNvPr id="5" name="object 7">
              <a:extLst>
                <a:ext uri="{FF2B5EF4-FFF2-40B4-BE49-F238E27FC236}">
                  <a16:creationId xmlns:a16="http://schemas.microsoft.com/office/drawing/2014/main" id="{4DF1228F-2B19-4982-9546-F66A16A23E34}"/>
                </a:ext>
              </a:extLst>
            </p:cNvPr>
            <p:cNvPicPr/>
            <p:nvPr/>
          </p:nvPicPr>
          <p:blipFill>
            <a:blip r:embed="rId3" cstate="print"/>
            <a:stretch>
              <a:fillRect/>
            </a:stretch>
          </p:blipFill>
          <p:spPr>
            <a:xfrm>
              <a:off x="5672687" y="1059775"/>
              <a:ext cx="1215824" cy="1215824"/>
            </a:xfrm>
            <a:prstGeom prst="rect">
              <a:avLst/>
            </a:prstGeom>
          </p:spPr>
        </p:pic>
        <p:pic>
          <p:nvPicPr>
            <p:cNvPr id="6" name="object 8">
              <a:extLst>
                <a:ext uri="{FF2B5EF4-FFF2-40B4-BE49-F238E27FC236}">
                  <a16:creationId xmlns:a16="http://schemas.microsoft.com/office/drawing/2014/main" id="{5731170B-894E-43FF-A76F-28B9E6035882}"/>
                </a:ext>
              </a:extLst>
            </p:cNvPr>
            <p:cNvPicPr/>
            <p:nvPr/>
          </p:nvPicPr>
          <p:blipFill>
            <a:blip r:embed="rId4" cstate="print"/>
            <a:stretch>
              <a:fillRect/>
            </a:stretch>
          </p:blipFill>
          <p:spPr>
            <a:xfrm>
              <a:off x="5896585" y="1466688"/>
              <a:ext cx="215744" cy="215774"/>
            </a:xfrm>
            <a:prstGeom prst="rect">
              <a:avLst/>
            </a:prstGeom>
          </p:spPr>
        </p:pic>
        <p:pic>
          <p:nvPicPr>
            <p:cNvPr id="7" name="object 9">
              <a:extLst>
                <a:ext uri="{FF2B5EF4-FFF2-40B4-BE49-F238E27FC236}">
                  <a16:creationId xmlns:a16="http://schemas.microsoft.com/office/drawing/2014/main" id="{F4CF6903-B238-421F-A7CD-E1AF20EABBBA}"/>
                </a:ext>
              </a:extLst>
            </p:cNvPr>
            <p:cNvPicPr/>
            <p:nvPr/>
          </p:nvPicPr>
          <p:blipFill>
            <a:blip r:embed="rId4" cstate="print"/>
            <a:stretch>
              <a:fillRect/>
            </a:stretch>
          </p:blipFill>
          <p:spPr>
            <a:xfrm>
              <a:off x="6172722" y="1471088"/>
              <a:ext cx="215744" cy="215774"/>
            </a:xfrm>
            <a:prstGeom prst="rect">
              <a:avLst/>
            </a:prstGeom>
          </p:spPr>
        </p:pic>
        <p:pic>
          <p:nvPicPr>
            <p:cNvPr id="8" name="object 10">
              <a:extLst>
                <a:ext uri="{FF2B5EF4-FFF2-40B4-BE49-F238E27FC236}">
                  <a16:creationId xmlns:a16="http://schemas.microsoft.com/office/drawing/2014/main" id="{AA7911A4-081F-4CFE-B527-A14A3FFA0AB6}"/>
                </a:ext>
              </a:extLst>
            </p:cNvPr>
            <p:cNvPicPr/>
            <p:nvPr/>
          </p:nvPicPr>
          <p:blipFill>
            <a:blip r:embed="rId5" cstate="print"/>
            <a:stretch>
              <a:fillRect/>
            </a:stretch>
          </p:blipFill>
          <p:spPr>
            <a:xfrm>
              <a:off x="6448885" y="1471088"/>
              <a:ext cx="215743" cy="215774"/>
            </a:xfrm>
            <a:prstGeom prst="rect">
              <a:avLst/>
            </a:prstGeom>
          </p:spPr>
        </p:pic>
      </p:grpSp>
      <p:sp>
        <p:nvSpPr>
          <p:cNvPr id="9" name="Rectangle 8">
            <a:extLst>
              <a:ext uri="{FF2B5EF4-FFF2-40B4-BE49-F238E27FC236}">
                <a16:creationId xmlns:a16="http://schemas.microsoft.com/office/drawing/2014/main" id="{F6A602BA-2C33-4C55-B1A4-EC4C733CE60F}"/>
              </a:ext>
            </a:extLst>
          </p:cNvPr>
          <p:cNvSpPr/>
          <p:nvPr/>
        </p:nvSpPr>
        <p:spPr>
          <a:xfrm>
            <a:off x="381000" y="438150"/>
            <a:ext cx="4876800" cy="1676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C766F913-CBE2-4C26-9CA6-78C5D81CC30F}"/>
              </a:ext>
            </a:extLst>
          </p:cNvPr>
          <p:cNvSpPr txBox="1"/>
          <p:nvPr/>
        </p:nvSpPr>
        <p:spPr>
          <a:xfrm>
            <a:off x="419494" y="847640"/>
            <a:ext cx="2916183" cy="707886"/>
          </a:xfrm>
          <a:prstGeom prst="rect">
            <a:avLst/>
          </a:prstGeom>
          <a:noFill/>
        </p:spPr>
        <p:txBody>
          <a:bodyPr wrap="none" rtlCol="0">
            <a:spAutoFit/>
          </a:bodyPr>
          <a:lstStyle/>
          <a:p>
            <a:r>
              <a:rPr lang="en-US" sz="4000" b="1" dirty="0">
                <a:latin typeface="Trebuchet MS" panose="020B0603020202020204" pitchFamily="34" charset="0"/>
              </a:rPr>
              <a:t>Questions ?</a:t>
            </a:r>
          </a:p>
        </p:txBody>
      </p:sp>
      <p:sp>
        <p:nvSpPr>
          <p:cNvPr id="11" name="TextBox 10">
            <a:extLst>
              <a:ext uri="{FF2B5EF4-FFF2-40B4-BE49-F238E27FC236}">
                <a16:creationId xmlns:a16="http://schemas.microsoft.com/office/drawing/2014/main" id="{75CAE1FB-2997-4883-9C32-83ADF9C54EC8}"/>
              </a:ext>
            </a:extLst>
          </p:cNvPr>
          <p:cNvSpPr txBox="1"/>
          <p:nvPr/>
        </p:nvSpPr>
        <p:spPr>
          <a:xfrm>
            <a:off x="381000" y="1747731"/>
            <a:ext cx="2639192" cy="646331"/>
          </a:xfrm>
          <a:prstGeom prst="rect">
            <a:avLst/>
          </a:prstGeom>
          <a:noFill/>
        </p:spPr>
        <p:txBody>
          <a:bodyPr wrap="square" rtlCol="0">
            <a:spAutoFit/>
          </a:bodyPr>
          <a:lstStyle/>
          <a:p>
            <a:r>
              <a:rPr lang="en-US" sz="3600" dirty="0">
                <a:solidFill>
                  <a:srgbClr val="3D85C6"/>
                </a:solidFill>
                <a:latin typeface="Trebuchet MS" panose="020B0603020202020204" pitchFamily="34" charset="0"/>
              </a:rPr>
              <a:t>Thank you !</a:t>
            </a:r>
          </a:p>
        </p:txBody>
      </p:sp>
      <p:pic>
        <p:nvPicPr>
          <p:cNvPr id="12" name="Google Shape;108;p1">
            <a:extLst>
              <a:ext uri="{FF2B5EF4-FFF2-40B4-BE49-F238E27FC236}">
                <a16:creationId xmlns:a16="http://schemas.microsoft.com/office/drawing/2014/main" id="{863CB6F9-679A-4B37-9059-A6D8049EF83A}"/>
              </a:ext>
            </a:extLst>
          </p:cNvPr>
          <p:cNvPicPr preferRelativeResize="0"/>
          <p:nvPr/>
        </p:nvPicPr>
        <p:blipFill rotWithShape="1">
          <a:blip r:embed="rId6">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1018586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5791200" y="57150"/>
            <a:ext cx="3124200" cy="2970537"/>
            <a:chOff x="4856400" y="0"/>
            <a:chExt cx="4288155" cy="5143500"/>
          </a:xfrm>
        </p:grpSpPr>
        <p:sp>
          <p:nvSpPr>
            <p:cNvPr id="3" name="object 3"/>
            <p:cNvSpPr/>
            <p:nvPr/>
          </p:nvSpPr>
          <p:spPr>
            <a:xfrm>
              <a:off x="4856400" y="0"/>
              <a:ext cx="4288155" cy="5143500"/>
            </a:xfrm>
            <a:custGeom>
              <a:avLst/>
              <a:gdLst/>
              <a:ahLst/>
              <a:cxnLst/>
              <a:rect l="l" t="t" r="r" b="b"/>
              <a:pathLst>
                <a:path w="4288155" h="5143500">
                  <a:moveTo>
                    <a:pt x="4287599" y="5143499"/>
                  </a:moveTo>
                  <a:lnTo>
                    <a:pt x="0" y="5143499"/>
                  </a:lnTo>
                  <a:lnTo>
                    <a:pt x="0" y="0"/>
                  </a:lnTo>
                  <a:lnTo>
                    <a:pt x="4287599" y="0"/>
                  </a:lnTo>
                  <a:lnTo>
                    <a:pt x="4287599" y="5143499"/>
                  </a:lnTo>
                  <a:close/>
                </a:path>
              </a:pathLst>
            </a:custGeom>
            <a:solidFill>
              <a:srgbClr val="F4F7FA"/>
            </a:solidFill>
          </p:spPr>
          <p:txBody>
            <a:bodyPr wrap="square" lIns="0" tIns="0" rIns="0" bIns="0" rtlCol="0"/>
            <a:lstStyle/>
            <a:p>
              <a:endParaRPr/>
            </a:p>
          </p:txBody>
        </p:sp>
        <p:pic>
          <p:nvPicPr>
            <p:cNvPr id="4" name="object 4"/>
            <p:cNvPicPr/>
            <p:nvPr/>
          </p:nvPicPr>
          <p:blipFill>
            <a:blip r:embed="rId2" cstate="print"/>
            <a:stretch>
              <a:fillRect/>
            </a:stretch>
          </p:blipFill>
          <p:spPr>
            <a:xfrm>
              <a:off x="5252490" y="847683"/>
              <a:ext cx="3526793" cy="3279447"/>
            </a:xfrm>
            <a:prstGeom prst="rect">
              <a:avLst/>
            </a:prstGeom>
          </p:spPr>
        </p:pic>
        <p:pic>
          <p:nvPicPr>
            <p:cNvPr id="5" name="object 5"/>
            <p:cNvPicPr/>
            <p:nvPr/>
          </p:nvPicPr>
          <p:blipFill>
            <a:blip r:embed="rId3" cstate="print"/>
            <a:stretch>
              <a:fillRect/>
            </a:stretch>
          </p:blipFill>
          <p:spPr>
            <a:xfrm>
              <a:off x="6755372" y="2263881"/>
              <a:ext cx="527331" cy="531722"/>
            </a:xfrm>
            <a:prstGeom prst="rect">
              <a:avLst/>
            </a:prstGeom>
          </p:spPr>
        </p:pic>
        <p:pic>
          <p:nvPicPr>
            <p:cNvPr id="6" name="object 6"/>
            <p:cNvPicPr/>
            <p:nvPr/>
          </p:nvPicPr>
          <p:blipFill>
            <a:blip r:embed="rId4" cstate="print"/>
            <a:stretch>
              <a:fillRect/>
            </a:stretch>
          </p:blipFill>
          <p:spPr>
            <a:xfrm>
              <a:off x="7877649" y="1370706"/>
              <a:ext cx="81253" cy="81017"/>
            </a:xfrm>
            <a:prstGeom prst="rect">
              <a:avLst/>
            </a:prstGeom>
          </p:spPr>
        </p:pic>
        <p:pic>
          <p:nvPicPr>
            <p:cNvPr id="7" name="object 7"/>
            <p:cNvPicPr/>
            <p:nvPr/>
          </p:nvPicPr>
          <p:blipFill>
            <a:blip r:embed="rId5" cstate="print"/>
            <a:stretch>
              <a:fillRect/>
            </a:stretch>
          </p:blipFill>
          <p:spPr>
            <a:xfrm>
              <a:off x="5850614" y="2514418"/>
              <a:ext cx="80369" cy="81937"/>
            </a:xfrm>
            <a:prstGeom prst="rect">
              <a:avLst/>
            </a:prstGeom>
          </p:spPr>
        </p:pic>
        <p:pic>
          <p:nvPicPr>
            <p:cNvPr id="8" name="object 8"/>
            <p:cNvPicPr/>
            <p:nvPr/>
          </p:nvPicPr>
          <p:blipFill>
            <a:blip r:embed="rId4" cstate="print"/>
            <a:stretch>
              <a:fillRect/>
            </a:stretch>
          </p:blipFill>
          <p:spPr>
            <a:xfrm>
              <a:off x="6063022" y="1370706"/>
              <a:ext cx="81253" cy="81017"/>
            </a:xfrm>
            <a:prstGeom prst="rect">
              <a:avLst/>
            </a:prstGeom>
          </p:spPr>
        </p:pic>
        <p:sp>
          <p:nvSpPr>
            <p:cNvPr id="9" name="object 9"/>
            <p:cNvSpPr/>
            <p:nvPr/>
          </p:nvSpPr>
          <p:spPr>
            <a:xfrm>
              <a:off x="5910532" y="2545679"/>
              <a:ext cx="527685" cy="15875"/>
            </a:xfrm>
            <a:custGeom>
              <a:avLst/>
              <a:gdLst/>
              <a:ahLst/>
              <a:cxnLst/>
              <a:rect l="l" t="t" r="r" b="b"/>
              <a:pathLst>
                <a:path w="527685" h="15875">
                  <a:moveTo>
                    <a:pt x="523671" y="15467"/>
                  </a:moveTo>
                  <a:lnTo>
                    <a:pt x="3620" y="15467"/>
                  </a:lnTo>
                  <a:lnTo>
                    <a:pt x="0" y="11844"/>
                  </a:lnTo>
                  <a:lnTo>
                    <a:pt x="0" y="3651"/>
                  </a:lnTo>
                  <a:lnTo>
                    <a:pt x="3620" y="0"/>
                  </a:lnTo>
                  <a:lnTo>
                    <a:pt x="8125" y="0"/>
                  </a:lnTo>
                  <a:lnTo>
                    <a:pt x="523671" y="0"/>
                  </a:lnTo>
                  <a:lnTo>
                    <a:pt x="527291" y="3651"/>
                  </a:lnTo>
                  <a:lnTo>
                    <a:pt x="527291" y="11844"/>
                  </a:lnTo>
                  <a:lnTo>
                    <a:pt x="523671" y="15467"/>
                  </a:lnTo>
                  <a:close/>
                </a:path>
              </a:pathLst>
            </a:custGeom>
            <a:solidFill>
              <a:srgbClr val="999999"/>
            </a:solidFill>
          </p:spPr>
          <p:txBody>
            <a:bodyPr wrap="square" lIns="0" tIns="0" rIns="0" bIns="0" rtlCol="0"/>
            <a:lstStyle/>
            <a:p>
              <a:endParaRPr/>
            </a:p>
          </p:txBody>
        </p:sp>
        <p:pic>
          <p:nvPicPr>
            <p:cNvPr id="10" name="object 10"/>
            <p:cNvPicPr/>
            <p:nvPr/>
          </p:nvPicPr>
          <p:blipFill>
            <a:blip r:embed="rId5" cstate="print"/>
            <a:stretch>
              <a:fillRect/>
            </a:stretch>
          </p:blipFill>
          <p:spPr>
            <a:xfrm>
              <a:off x="8042697" y="2514418"/>
              <a:ext cx="80369" cy="81937"/>
            </a:xfrm>
            <a:prstGeom prst="rect">
              <a:avLst/>
            </a:prstGeom>
          </p:spPr>
        </p:pic>
        <p:pic>
          <p:nvPicPr>
            <p:cNvPr id="11" name="object 11"/>
            <p:cNvPicPr/>
            <p:nvPr/>
          </p:nvPicPr>
          <p:blipFill>
            <a:blip r:embed="rId6" cstate="print"/>
            <a:stretch>
              <a:fillRect/>
            </a:stretch>
          </p:blipFill>
          <p:spPr>
            <a:xfrm>
              <a:off x="7812841" y="3527227"/>
              <a:ext cx="81253" cy="81017"/>
            </a:xfrm>
            <a:prstGeom prst="rect">
              <a:avLst/>
            </a:prstGeom>
          </p:spPr>
        </p:pic>
        <p:pic>
          <p:nvPicPr>
            <p:cNvPr id="12" name="object 12"/>
            <p:cNvPicPr/>
            <p:nvPr/>
          </p:nvPicPr>
          <p:blipFill>
            <a:blip r:embed="rId4" cstate="print"/>
            <a:stretch>
              <a:fillRect/>
            </a:stretch>
          </p:blipFill>
          <p:spPr>
            <a:xfrm>
              <a:off x="6127830" y="3527227"/>
              <a:ext cx="81253" cy="81017"/>
            </a:xfrm>
            <a:prstGeom prst="rect">
              <a:avLst/>
            </a:prstGeom>
          </p:spPr>
        </p:pic>
        <p:pic>
          <p:nvPicPr>
            <p:cNvPr id="13" name="object 13"/>
            <p:cNvPicPr/>
            <p:nvPr/>
          </p:nvPicPr>
          <p:blipFill>
            <a:blip r:embed="rId7" cstate="print"/>
            <a:stretch>
              <a:fillRect/>
            </a:stretch>
          </p:blipFill>
          <p:spPr>
            <a:xfrm>
              <a:off x="5252500" y="539675"/>
              <a:ext cx="890774" cy="890774"/>
            </a:xfrm>
            <a:prstGeom prst="rect">
              <a:avLst/>
            </a:prstGeom>
          </p:spPr>
        </p:pic>
        <p:pic>
          <p:nvPicPr>
            <p:cNvPr id="14" name="object 14"/>
            <p:cNvPicPr/>
            <p:nvPr/>
          </p:nvPicPr>
          <p:blipFill>
            <a:blip r:embed="rId8" cstate="print"/>
            <a:stretch>
              <a:fillRect/>
            </a:stretch>
          </p:blipFill>
          <p:spPr>
            <a:xfrm>
              <a:off x="5684553" y="3700075"/>
              <a:ext cx="591347" cy="655575"/>
            </a:xfrm>
            <a:prstGeom prst="rect">
              <a:avLst/>
            </a:prstGeom>
          </p:spPr>
        </p:pic>
        <p:pic>
          <p:nvPicPr>
            <p:cNvPr id="15" name="object 15"/>
            <p:cNvPicPr/>
            <p:nvPr/>
          </p:nvPicPr>
          <p:blipFill>
            <a:blip r:embed="rId9" cstate="print"/>
            <a:stretch>
              <a:fillRect/>
            </a:stretch>
          </p:blipFill>
          <p:spPr>
            <a:xfrm>
              <a:off x="7815825" y="692075"/>
              <a:ext cx="890774" cy="890774"/>
            </a:xfrm>
            <a:prstGeom prst="rect">
              <a:avLst/>
            </a:prstGeom>
          </p:spPr>
        </p:pic>
        <p:pic>
          <p:nvPicPr>
            <p:cNvPr id="16" name="object 16"/>
            <p:cNvPicPr/>
            <p:nvPr/>
          </p:nvPicPr>
          <p:blipFill>
            <a:blip r:embed="rId10" cstate="print"/>
            <a:stretch>
              <a:fillRect/>
            </a:stretch>
          </p:blipFill>
          <p:spPr>
            <a:xfrm>
              <a:off x="7625225" y="3586600"/>
              <a:ext cx="890774" cy="890774"/>
            </a:xfrm>
            <a:prstGeom prst="rect">
              <a:avLst/>
            </a:prstGeom>
          </p:spPr>
        </p:pic>
      </p:grpSp>
      <p:sp>
        <p:nvSpPr>
          <p:cNvPr id="17" name="object 17"/>
          <p:cNvSpPr txBox="1">
            <a:spLocks noGrp="1"/>
          </p:cNvSpPr>
          <p:nvPr>
            <p:ph type="title"/>
          </p:nvPr>
        </p:nvSpPr>
        <p:spPr>
          <a:xfrm>
            <a:off x="384725" y="505350"/>
            <a:ext cx="3311525" cy="628377"/>
          </a:xfrm>
          <a:prstGeom prst="rect">
            <a:avLst/>
          </a:prstGeom>
        </p:spPr>
        <p:txBody>
          <a:bodyPr vert="horz" wrap="square" lIns="0" tIns="12700" rIns="0" bIns="0" rtlCol="0">
            <a:spAutoFit/>
          </a:bodyPr>
          <a:lstStyle/>
          <a:p>
            <a:pPr marL="12700" marR="5080">
              <a:lnSpc>
                <a:spcPct val="100000"/>
              </a:lnSpc>
              <a:spcBef>
                <a:spcPts val="100"/>
              </a:spcBef>
            </a:pPr>
            <a:r>
              <a:rPr lang="en-US" sz="4000" spc="-95" dirty="0"/>
              <a:t>Introduction</a:t>
            </a:r>
            <a:endParaRPr sz="4000" dirty="0"/>
          </a:p>
        </p:txBody>
      </p:sp>
      <p:sp>
        <p:nvSpPr>
          <p:cNvPr id="18" name="object 18"/>
          <p:cNvSpPr txBox="1"/>
          <p:nvPr/>
        </p:nvSpPr>
        <p:spPr>
          <a:xfrm>
            <a:off x="228600" y="1372845"/>
            <a:ext cx="6204912" cy="1495922"/>
          </a:xfrm>
          <a:prstGeom prst="rect">
            <a:avLst/>
          </a:prstGeom>
        </p:spPr>
        <p:txBody>
          <a:bodyPr vert="horz" wrap="square" lIns="0" tIns="10795" rIns="0" bIns="0" rtlCol="0">
            <a:spAutoFit/>
          </a:bodyPr>
          <a:lstStyle/>
          <a:p>
            <a:pPr>
              <a:lnSpc>
                <a:spcPct val="100000"/>
              </a:lnSpc>
              <a:spcBef>
                <a:spcPts val="40"/>
              </a:spcBef>
            </a:pPr>
            <a:endParaRPr lang="en-US" sz="1850" dirty="0">
              <a:latin typeface="Trebuchet MS"/>
              <a:cs typeface="Trebuchet MS"/>
            </a:endParaRPr>
          </a:p>
          <a:p>
            <a:pPr marL="379095" indent="-367030">
              <a:lnSpc>
                <a:spcPct val="100000"/>
              </a:lnSpc>
              <a:buFont typeface="Arial"/>
              <a:buChar char="●"/>
              <a:tabLst>
                <a:tab pos="379095" algn="l"/>
                <a:tab pos="379730" algn="l"/>
              </a:tabLst>
            </a:pPr>
            <a:r>
              <a:rPr sz="1800" spc="-5" dirty="0">
                <a:latin typeface="Trebuchet MS"/>
                <a:cs typeface="Trebuchet MS"/>
              </a:rPr>
              <a:t>What</a:t>
            </a:r>
            <a:r>
              <a:rPr sz="1800" spc="-70" dirty="0">
                <a:latin typeface="Trebuchet MS"/>
                <a:cs typeface="Trebuchet MS"/>
              </a:rPr>
              <a:t> </a:t>
            </a:r>
            <a:r>
              <a:rPr sz="1800" spc="50" dirty="0">
                <a:latin typeface="Trebuchet MS"/>
                <a:cs typeface="Trebuchet MS"/>
              </a:rPr>
              <a:t>is</a:t>
            </a:r>
            <a:r>
              <a:rPr sz="1800" spc="-120" dirty="0">
                <a:latin typeface="Trebuchet MS"/>
                <a:cs typeface="Trebuchet MS"/>
              </a:rPr>
              <a:t> </a:t>
            </a:r>
            <a:r>
              <a:rPr sz="1800" b="1" spc="-10" dirty="0">
                <a:latin typeface="Trebuchet MS"/>
                <a:cs typeface="Trebuchet MS"/>
              </a:rPr>
              <a:t>Ha</a:t>
            </a:r>
            <a:r>
              <a:rPr sz="1800" b="1" spc="-45" dirty="0">
                <a:latin typeface="Trebuchet MS"/>
                <a:cs typeface="Trebuchet MS"/>
              </a:rPr>
              <a:t>te</a:t>
            </a:r>
            <a:r>
              <a:rPr sz="1800" b="1" spc="-120" dirty="0">
                <a:latin typeface="Trebuchet MS"/>
                <a:cs typeface="Trebuchet MS"/>
              </a:rPr>
              <a:t> </a:t>
            </a:r>
            <a:r>
              <a:rPr sz="1800" b="1" spc="-10" dirty="0">
                <a:latin typeface="Trebuchet MS"/>
                <a:cs typeface="Trebuchet MS"/>
              </a:rPr>
              <a:t>Speec</a:t>
            </a:r>
            <a:r>
              <a:rPr sz="1800" b="1" spc="-65" dirty="0">
                <a:latin typeface="Trebuchet MS"/>
                <a:cs typeface="Trebuchet MS"/>
              </a:rPr>
              <a:t>h</a:t>
            </a:r>
            <a:r>
              <a:rPr sz="1800" b="1" spc="75" dirty="0">
                <a:latin typeface="Trebuchet MS"/>
                <a:cs typeface="Trebuchet MS"/>
              </a:rPr>
              <a:t>?</a:t>
            </a:r>
            <a:endParaRPr lang="en-US" sz="1800" b="1" spc="75" dirty="0">
              <a:latin typeface="Trebuchet MS"/>
              <a:cs typeface="Trebuchet MS"/>
            </a:endParaRPr>
          </a:p>
          <a:p>
            <a:pPr marL="401638" lvl="1">
              <a:tabLst>
                <a:tab pos="377825" algn="l"/>
                <a:tab pos="379413" algn="l"/>
                <a:tab pos="401638" algn="l"/>
              </a:tabLst>
            </a:pPr>
            <a:r>
              <a:rPr lang="en-US" sz="1400" dirty="0">
                <a:solidFill>
                  <a:schemeClr val="tx1"/>
                </a:solidFill>
                <a:latin typeface="Trebuchet MS" panose="020B0603020202020204" pitchFamily="34" charset="0"/>
                <a:cs typeface="Times New Roman" pitchFamily="18" charset="0"/>
              </a:rPr>
              <a:t>Hate speech is defined as "public speech that expresses </a:t>
            </a:r>
            <a:r>
              <a:rPr lang="en-US" sz="1400" dirty="0">
                <a:latin typeface="Trebuchet MS" panose="020B0603020202020204" pitchFamily="34" charset="0"/>
              </a:rPr>
              <a:t>hate or     encourages violence towards a person or group based on something </a:t>
            </a:r>
          </a:p>
          <a:p>
            <a:pPr marL="401638" lvl="1">
              <a:tabLst>
                <a:tab pos="377825" algn="l"/>
                <a:tab pos="379413" algn="l"/>
                <a:tab pos="401638" algn="l"/>
              </a:tabLst>
            </a:pPr>
            <a:r>
              <a:rPr lang="en-US" sz="1400" dirty="0">
                <a:latin typeface="Trebuchet MS" panose="020B0603020202020204" pitchFamily="34" charset="0"/>
              </a:rPr>
              <a:t>such as race, religion, sex, or sexual orientation“. </a:t>
            </a:r>
          </a:p>
          <a:p>
            <a:pPr marL="836295" lvl="1" indent="-367030">
              <a:buFont typeface="Arial"/>
              <a:buChar char="●"/>
              <a:tabLst>
                <a:tab pos="379095" algn="l"/>
                <a:tab pos="379730" algn="l"/>
              </a:tabLst>
            </a:pPr>
            <a:endParaRPr lang="en-US" b="1" spc="75" dirty="0">
              <a:latin typeface="Trebuchet MS"/>
              <a:cs typeface="Trebuchet MS"/>
            </a:endParaRPr>
          </a:p>
        </p:txBody>
      </p:sp>
      <p:pic>
        <p:nvPicPr>
          <p:cNvPr id="1026" name="Picture 2" descr="Indian Penal Code IPC-295A">
            <a:extLst>
              <a:ext uri="{FF2B5EF4-FFF2-40B4-BE49-F238E27FC236}">
                <a16:creationId xmlns:a16="http://schemas.microsoft.com/office/drawing/2014/main" id="{8E7E69AE-12ED-4792-A562-08C894466CD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8600" y="3001208"/>
            <a:ext cx="860559" cy="8605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dian Penal Code IPC-153A">
            <a:extLst>
              <a:ext uri="{FF2B5EF4-FFF2-40B4-BE49-F238E27FC236}">
                <a16:creationId xmlns:a16="http://schemas.microsoft.com/office/drawing/2014/main" id="{437FBD7A-C3D3-436C-A047-005305F792B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8600" y="4019550"/>
            <a:ext cx="859536" cy="859536"/>
          </a:xfrm>
          <a:prstGeom prst="rect">
            <a:avLst/>
          </a:prstGeom>
          <a:noFill/>
          <a:extLst>
            <a:ext uri="{909E8E84-426E-40DD-AFC4-6F175D3DCCD1}">
              <a14:hiddenFill xmlns:a14="http://schemas.microsoft.com/office/drawing/2010/main">
                <a:solidFill>
                  <a:srgbClr val="FFFFFF"/>
                </a:solidFill>
              </a14:hiddenFill>
            </a:ext>
          </a:extLst>
        </p:spPr>
      </p:pic>
      <p:sp>
        <p:nvSpPr>
          <p:cNvPr id="22" name="object 18">
            <a:extLst>
              <a:ext uri="{FF2B5EF4-FFF2-40B4-BE49-F238E27FC236}">
                <a16:creationId xmlns:a16="http://schemas.microsoft.com/office/drawing/2014/main" id="{B29D7B08-73EB-455E-A758-D759A8DF5A40}"/>
              </a:ext>
            </a:extLst>
          </p:cNvPr>
          <p:cNvSpPr txBox="1"/>
          <p:nvPr/>
        </p:nvSpPr>
        <p:spPr>
          <a:xfrm>
            <a:off x="927903" y="3032882"/>
            <a:ext cx="7792772" cy="441788"/>
          </a:xfrm>
          <a:prstGeom prst="rect">
            <a:avLst/>
          </a:prstGeom>
        </p:spPr>
        <p:txBody>
          <a:bodyPr vert="horz" wrap="square" lIns="0" tIns="10795" rIns="0" bIns="0" rtlCol="0">
            <a:spAutoFit/>
          </a:bodyPr>
          <a:lstStyle/>
          <a:p>
            <a:pPr marL="342900" lvl="1" algn="just">
              <a:buClr>
                <a:schemeClr val="tx1"/>
              </a:buClr>
            </a:pPr>
            <a:r>
              <a:rPr lang="en-US" sz="1400" b="0" i="1" dirty="0">
                <a:solidFill>
                  <a:srgbClr val="000000"/>
                </a:solidFill>
                <a:effectLst/>
                <a:latin typeface="Times New Roman" panose="02020603050405020304" pitchFamily="18" charset="0"/>
              </a:rPr>
              <a:t>Promoting enmity between different groups on grounds of religion, race, place of birth, residence, language, etc., and doing by a.)words or b.)acts are held prejudicial to maintenance of harmony.</a:t>
            </a:r>
            <a:endParaRPr lang="en-US" sz="1400" i="1" dirty="0">
              <a:solidFill>
                <a:schemeClr val="tx2">
                  <a:lumMod val="50000"/>
                </a:schemeClr>
              </a:solidFill>
              <a:latin typeface="Times New Roman" pitchFamily="18" charset="0"/>
              <a:cs typeface="Times New Roman" pitchFamily="18" charset="0"/>
            </a:endParaRPr>
          </a:p>
        </p:txBody>
      </p:sp>
      <p:sp>
        <p:nvSpPr>
          <p:cNvPr id="24" name="object 18">
            <a:extLst>
              <a:ext uri="{FF2B5EF4-FFF2-40B4-BE49-F238E27FC236}">
                <a16:creationId xmlns:a16="http://schemas.microsoft.com/office/drawing/2014/main" id="{6DD1446C-A515-4BFB-92CA-C5AE5F145C0A}"/>
              </a:ext>
            </a:extLst>
          </p:cNvPr>
          <p:cNvSpPr txBox="1"/>
          <p:nvPr/>
        </p:nvSpPr>
        <p:spPr>
          <a:xfrm>
            <a:off x="747033" y="3861767"/>
            <a:ext cx="7973642" cy="1088118"/>
          </a:xfrm>
          <a:prstGeom prst="rect">
            <a:avLst/>
          </a:prstGeom>
        </p:spPr>
        <p:txBody>
          <a:bodyPr vert="horz" wrap="square" lIns="0" tIns="10795" rIns="0" bIns="0" rtlCol="0">
            <a:spAutoFit/>
          </a:bodyPr>
          <a:lstStyle/>
          <a:p>
            <a:pPr marL="512763" lvl="1" algn="just">
              <a:spcBef>
                <a:spcPts val="600"/>
              </a:spcBef>
              <a:spcAft>
                <a:spcPts val="600"/>
              </a:spcAft>
            </a:pPr>
            <a:r>
              <a:rPr lang="en-IN" sz="1400" i="1" dirty="0">
                <a:solidFill>
                  <a:srgbClr val="202122"/>
                </a:solidFill>
                <a:effectLst/>
                <a:latin typeface="Times New Roman" panose="02020603050405020304" pitchFamily="18" charset="0"/>
                <a:ea typeface="Times New Roman" panose="02020603050405020304" pitchFamily="18" charset="0"/>
                <a:cs typeface="Times New Roman" panose="02020603050405020304" pitchFamily="18" charset="0"/>
              </a:rPr>
              <a:t>Whoever, with deliberate and malicious intention of outraging the religious feelings of any class of [citizens of India], [by words, either spoken or written, or by signs or by visible representations or otherwise], insults or attempts to insult the religion or the religious beliefs of that class, shall be punished with imprisonment of either description for a term which may extend to [three years], or with fine, or with both.</a:t>
            </a:r>
            <a:endParaRPr lang="en-US" sz="1400" i="1" dirty="0">
              <a:solidFill>
                <a:schemeClr val="tx2">
                  <a:lumMod val="50000"/>
                </a:schemeClr>
              </a:solidFill>
              <a:latin typeface="Times New Roman" pitchFamily="18" charset="0"/>
              <a:cs typeface="Times New Roman" pitchFamily="18" charset="0"/>
            </a:endParaRPr>
          </a:p>
        </p:txBody>
      </p:sp>
      <p:pic>
        <p:nvPicPr>
          <p:cNvPr id="23" name="Google Shape;108;p1">
            <a:extLst>
              <a:ext uri="{FF2B5EF4-FFF2-40B4-BE49-F238E27FC236}">
                <a16:creationId xmlns:a16="http://schemas.microsoft.com/office/drawing/2014/main" id="{D6398501-7BED-49BA-A494-F9DB8ECA32AB}"/>
              </a:ext>
            </a:extLst>
          </p:cNvPr>
          <p:cNvPicPr preferRelativeResize="0"/>
          <p:nvPr/>
        </p:nvPicPr>
        <p:blipFill rotWithShape="1">
          <a:blip r:embed="rId13">
            <a:alphaModFix/>
          </a:blip>
          <a:srcRect/>
          <a:stretch/>
        </p:blipFill>
        <p:spPr>
          <a:xfrm>
            <a:off x="8712986" y="4782288"/>
            <a:ext cx="346788" cy="335193"/>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F40E43-8940-484E-9839-79C35A195F0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ABF40E43-8940-484E-9839-79C35A195F0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76A39F8-EB67-45E5-B9CA-43362E059B79}"/>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8D08723-09EB-4944-9FDF-BF0DFD308935}"/>
              </a:ext>
            </a:extLst>
          </p:cNvPr>
          <p:cNvSpPr>
            <a:spLocks noGrp="1"/>
          </p:cNvSpPr>
          <p:nvPr>
            <p:ph type="title"/>
          </p:nvPr>
        </p:nvSpPr>
        <p:spPr>
          <a:xfrm>
            <a:off x="261257" y="259989"/>
            <a:ext cx="8507990" cy="365185"/>
          </a:xfrm>
        </p:spPr>
        <p:txBody>
          <a:bodyPr/>
          <a:lstStyle/>
          <a:p>
            <a:r>
              <a:rPr lang="en-US" dirty="0">
                <a:solidFill>
                  <a:schemeClr val="bg1"/>
                </a:solidFill>
              </a:rPr>
              <a:t>Daily Event</a:t>
            </a:r>
          </a:p>
        </p:txBody>
      </p:sp>
      <p:sp>
        <p:nvSpPr>
          <p:cNvPr id="117" name="Rounded Rectangle 116">
            <a:extLst>
              <a:ext uri="{FF2B5EF4-FFF2-40B4-BE49-F238E27FC236}">
                <a16:creationId xmlns:a16="http://schemas.microsoft.com/office/drawing/2014/main" id="{4DBEF6CD-DF4F-B347-A809-5D84E58548B3}"/>
              </a:ext>
            </a:extLst>
          </p:cNvPr>
          <p:cNvSpPr/>
          <p:nvPr/>
        </p:nvSpPr>
        <p:spPr>
          <a:xfrm>
            <a:off x="2136955" y="932076"/>
            <a:ext cx="1533628" cy="18288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8" name="Rounded Rectangle 117">
            <a:extLst>
              <a:ext uri="{FF2B5EF4-FFF2-40B4-BE49-F238E27FC236}">
                <a16:creationId xmlns:a16="http://schemas.microsoft.com/office/drawing/2014/main" id="{CA6B596D-BB88-154F-A35D-9F9956FBACB7}"/>
              </a:ext>
            </a:extLst>
          </p:cNvPr>
          <p:cNvSpPr/>
          <p:nvPr/>
        </p:nvSpPr>
        <p:spPr>
          <a:xfrm>
            <a:off x="2286545" y="837517"/>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0" name="Rectangle 119">
            <a:extLst>
              <a:ext uri="{FF2B5EF4-FFF2-40B4-BE49-F238E27FC236}">
                <a16:creationId xmlns:a16="http://schemas.microsoft.com/office/drawing/2014/main" id="{06F17D6C-8293-AE4F-8E4B-1D2A72C06B96}"/>
              </a:ext>
            </a:extLst>
          </p:cNvPr>
          <p:cNvSpPr/>
          <p:nvPr/>
        </p:nvSpPr>
        <p:spPr>
          <a:xfrm>
            <a:off x="2316445" y="911166"/>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Title Of Paper</a:t>
            </a:r>
          </a:p>
        </p:txBody>
      </p:sp>
      <p:sp>
        <p:nvSpPr>
          <p:cNvPr id="121" name="Rectangle 120">
            <a:extLst>
              <a:ext uri="{FF2B5EF4-FFF2-40B4-BE49-F238E27FC236}">
                <a16:creationId xmlns:a16="http://schemas.microsoft.com/office/drawing/2014/main" id="{DE94B12B-4310-8E4E-BBDE-CAC9788B540B}"/>
              </a:ext>
            </a:extLst>
          </p:cNvPr>
          <p:cNvSpPr/>
          <p:nvPr/>
        </p:nvSpPr>
        <p:spPr>
          <a:xfrm>
            <a:off x="2350834" y="1335270"/>
            <a:ext cx="1105295" cy="739806"/>
          </a:xfrm>
          <a:prstGeom prst="rect">
            <a:avLst/>
          </a:prstGeom>
        </p:spPr>
        <p:txBody>
          <a:bodyPr wrap="square" lIns="0" tIns="0" rIns="0" bIns="0">
            <a:spAutoFit/>
          </a:bodyPr>
          <a:lstStyle/>
          <a:p>
            <a:pPr marL="0" indent="0">
              <a:buNone/>
            </a:pPr>
            <a:r>
              <a:rPr lang="en-US" sz="1200" b="0" i="0" dirty="0">
                <a:latin typeface="Times New Roman" panose="02020603050405020304" pitchFamily="18" charset="0"/>
                <a:cs typeface="Times New Roman" pitchFamily="18" charset="0"/>
              </a:rPr>
              <a:t>Hate Speech Detection in Code-switched Text Messages</a:t>
            </a:r>
          </a:p>
        </p:txBody>
      </p:sp>
      <p:sp>
        <p:nvSpPr>
          <p:cNvPr id="125" name="Rounded Rectangle 124">
            <a:extLst>
              <a:ext uri="{FF2B5EF4-FFF2-40B4-BE49-F238E27FC236}">
                <a16:creationId xmlns:a16="http://schemas.microsoft.com/office/drawing/2014/main" id="{8B1787FE-84E1-3C42-9CDD-D626DDD8A789}"/>
              </a:ext>
            </a:extLst>
          </p:cNvPr>
          <p:cNvSpPr/>
          <p:nvPr/>
        </p:nvSpPr>
        <p:spPr>
          <a:xfrm>
            <a:off x="3805186" y="932076"/>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3" name="Rounded Rectangle 132">
            <a:extLst>
              <a:ext uri="{FF2B5EF4-FFF2-40B4-BE49-F238E27FC236}">
                <a16:creationId xmlns:a16="http://schemas.microsoft.com/office/drawing/2014/main" id="{56A835E5-6486-0843-A1FE-A7F27816D0EC}"/>
              </a:ext>
            </a:extLst>
          </p:cNvPr>
          <p:cNvSpPr/>
          <p:nvPr/>
        </p:nvSpPr>
        <p:spPr>
          <a:xfrm>
            <a:off x="5473417" y="932076"/>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Rounded Rectangle 117">
            <a:extLst>
              <a:ext uri="{FF2B5EF4-FFF2-40B4-BE49-F238E27FC236}">
                <a16:creationId xmlns:a16="http://schemas.microsoft.com/office/drawing/2014/main" id="{D859B761-E4B3-4318-AEBF-E6094E01684F}"/>
              </a:ext>
            </a:extLst>
          </p:cNvPr>
          <p:cNvSpPr/>
          <p:nvPr/>
        </p:nvSpPr>
        <p:spPr>
          <a:xfrm>
            <a:off x="3935182" y="840819"/>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0" name="Rectangle 69">
            <a:extLst>
              <a:ext uri="{FF2B5EF4-FFF2-40B4-BE49-F238E27FC236}">
                <a16:creationId xmlns:a16="http://schemas.microsoft.com/office/drawing/2014/main" id="{356FD694-BAEF-4FA2-A6DC-F5989364CA41}"/>
              </a:ext>
            </a:extLst>
          </p:cNvPr>
          <p:cNvSpPr/>
          <p:nvPr/>
        </p:nvSpPr>
        <p:spPr>
          <a:xfrm>
            <a:off x="3977890" y="922835"/>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Review</a:t>
            </a:r>
          </a:p>
        </p:txBody>
      </p:sp>
      <p:sp>
        <p:nvSpPr>
          <p:cNvPr id="71" name="Rounded Rectangle 117">
            <a:extLst>
              <a:ext uri="{FF2B5EF4-FFF2-40B4-BE49-F238E27FC236}">
                <a16:creationId xmlns:a16="http://schemas.microsoft.com/office/drawing/2014/main" id="{4B95911C-4504-44FD-9097-59BAB27D3ED5}"/>
              </a:ext>
            </a:extLst>
          </p:cNvPr>
          <p:cNvSpPr/>
          <p:nvPr/>
        </p:nvSpPr>
        <p:spPr>
          <a:xfrm>
            <a:off x="5624360" y="833497"/>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2" name="Rectangle 71">
            <a:extLst>
              <a:ext uri="{FF2B5EF4-FFF2-40B4-BE49-F238E27FC236}">
                <a16:creationId xmlns:a16="http://schemas.microsoft.com/office/drawing/2014/main" id="{13B50C6C-B824-45EF-BB55-FF79864B687C}"/>
              </a:ext>
            </a:extLst>
          </p:cNvPr>
          <p:cNvSpPr/>
          <p:nvPr/>
        </p:nvSpPr>
        <p:spPr>
          <a:xfrm>
            <a:off x="5657272" y="905808"/>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Issues</a:t>
            </a:r>
          </a:p>
        </p:txBody>
      </p:sp>
      <p:sp>
        <p:nvSpPr>
          <p:cNvPr id="75" name="Rectangle 74">
            <a:extLst>
              <a:ext uri="{FF2B5EF4-FFF2-40B4-BE49-F238E27FC236}">
                <a16:creationId xmlns:a16="http://schemas.microsoft.com/office/drawing/2014/main" id="{25053992-EB0B-4952-8F93-9FC0DD504332}"/>
              </a:ext>
            </a:extLst>
          </p:cNvPr>
          <p:cNvSpPr/>
          <p:nvPr/>
        </p:nvSpPr>
        <p:spPr>
          <a:xfrm>
            <a:off x="3977890" y="1335270"/>
            <a:ext cx="1108841" cy="1107996"/>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itchFamily="18" charset="0"/>
              </a:rPr>
              <a:t>Uses CRISP-DM methodology (Cross-Industry Standard Process for data mining.) for tweets. </a:t>
            </a:r>
            <a:endParaRPr lang="en-IN" sz="12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76" name="Rectangle 75">
            <a:extLst>
              <a:ext uri="{FF2B5EF4-FFF2-40B4-BE49-F238E27FC236}">
                <a16:creationId xmlns:a16="http://schemas.microsoft.com/office/drawing/2014/main" id="{32BFE4AC-398E-4047-A66E-CBD889B508EA}"/>
              </a:ext>
            </a:extLst>
          </p:cNvPr>
          <p:cNvSpPr/>
          <p:nvPr/>
        </p:nvSpPr>
        <p:spPr>
          <a:xfrm>
            <a:off x="5696961" y="1335270"/>
            <a:ext cx="1108841" cy="1184940"/>
          </a:xfrm>
          <a:prstGeom prst="rect">
            <a:avLst/>
          </a:prstGeom>
        </p:spPr>
        <p:txBody>
          <a:bodyPr wrap="square" lIns="0" tIns="0" rIns="0" bIns="0">
            <a:spAutoFit/>
          </a:bodyPr>
          <a:lstStyle/>
          <a:p>
            <a:pPr marL="0" indent="0" algn="just">
              <a:buFont typeface="Arial" pitchFamily="34" charset="0"/>
              <a:buNone/>
            </a:pPr>
            <a:r>
              <a:rPr lang="en-US" sz="1100" dirty="0">
                <a:latin typeface="Times New Roman" panose="02020603050405020304" pitchFamily="18" charset="0"/>
                <a:cs typeface="Times New Roman" pitchFamily="18" charset="0"/>
              </a:rPr>
              <a:t>Could not identify ASCII’s in words. </a:t>
            </a:r>
            <a:r>
              <a:rPr lang="en-US" sz="1100" dirty="0" err="1">
                <a:latin typeface="Times New Roman" panose="02020603050405020304" pitchFamily="18" charset="0"/>
                <a:cs typeface="Times New Roman" pitchFamily="18" charset="0"/>
              </a:rPr>
              <a:t>E.g</a:t>
            </a:r>
            <a:r>
              <a:rPr lang="en-US" sz="1100" dirty="0">
                <a:latin typeface="Times New Roman" panose="02020603050405020304" pitchFamily="18" charset="0"/>
                <a:cs typeface="Times New Roman" pitchFamily="18" charset="0"/>
              </a:rPr>
              <a:t> “</a:t>
            </a:r>
            <a:r>
              <a:rPr lang="en-US" sz="1100" dirty="0" err="1">
                <a:latin typeface="Times New Roman" panose="02020603050405020304" pitchFamily="18" charset="0"/>
                <a:cs typeface="Times New Roman" pitchFamily="18" charset="0"/>
              </a:rPr>
              <a:t>F#uck</a:t>
            </a:r>
            <a:r>
              <a:rPr lang="en-US" sz="1100" dirty="0">
                <a:latin typeface="Times New Roman" panose="02020603050405020304" pitchFamily="18" charset="0"/>
                <a:cs typeface="Times New Roman" pitchFamily="18" charset="0"/>
              </a:rPr>
              <a:t> you all!”. Could not identify acronyms such as “WTF”, </a:t>
            </a:r>
            <a:r>
              <a:rPr lang="en-US" sz="1100" dirty="0" err="1">
                <a:latin typeface="Times New Roman" panose="02020603050405020304" pitchFamily="18" charset="0"/>
                <a:cs typeface="Times New Roman" pitchFamily="18" charset="0"/>
              </a:rPr>
              <a:t>Smh.nkt</a:t>
            </a:r>
            <a:r>
              <a:rPr lang="en-US" sz="1100" dirty="0">
                <a:latin typeface="Times New Roman" panose="02020603050405020304" pitchFamily="18" charset="0"/>
                <a:cs typeface="Times New Roman" pitchFamily="18" charset="0"/>
              </a:rPr>
              <a:t>!</a:t>
            </a:r>
            <a:endParaRPr lang="en-IN" sz="11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78" name="Rounded Rectangle 116">
            <a:extLst>
              <a:ext uri="{FF2B5EF4-FFF2-40B4-BE49-F238E27FC236}">
                <a16:creationId xmlns:a16="http://schemas.microsoft.com/office/drawing/2014/main" id="{CC6B5C6E-DA30-4E18-B976-CF9056A79343}"/>
              </a:ext>
            </a:extLst>
          </p:cNvPr>
          <p:cNvSpPr/>
          <p:nvPr/>
        </p:nvSpPr>
        <p:spPr>
          <a:xfrm>
            <a:off x="2136955" y="2926379"/>
            <a:ext cx="1533628" cy="18288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9" name="Rectangle 78">
            <a:extLst>
              <a:ext uri="{FF2B5EF4-FFF2-40B4-BE49-F238E27FC236}">
                <a16:creationId xmlns:a16="http://schemas.microsoft.com/office/drawing/2014/main" id="{B9F9157B-8840-4605-83D3-852DAF0BBFFE}"/>
              </a:ext>
            </a:extLst>
          </p:cNvPr>
          <p:cNvSpPr/>
          <p:nvPr/>
        </p:nvSpPr>
        <p:spPr>
          <a:xfrm>
            <a:off x="2385470" y="3218076"/>
            <a:ext cx="1105295" cy="1107996"/>
          </a:xfrm>
          <a:prstGeom prst="rect">
            <a:avLst/>
          </a:prstGeom>
        </p:spPr>
        <p:txBody>
          <a:bodyPr wrap="square" lIns="0" tIns="0" rIns="0" bIns="0">
            <a:spAutoFit/>
          </a:bodyPr>
          <a:lstStyle/>
          <a:p>
            <a:r>
              <a:rPr lang="en-US" sz="1200" dirty="0">
                <a:latin typeface="Times New Roman" pitchFamily="18" charset="0"/>
                <a:cs typeface="Times New Roman" pitchFamily="18" charset="0"/>
              </a:rPr>
              <a:t>Hate Speech Detection Using Latent Semantic Analysis (LSA) Method Based on Image.</a:t>
            </a:r>
          </a:p>
        </p:txBody>
      </p:sp>
      <p:sp>
        <p:nvSpPr>
          <p:cNvPr id="80" name="Rounded Rectangle 116">
            <a:extLst>
              <a:ext uri="{FF2B5EF4-FFF2-40B4-BE49-F238E27FC236}">
                <a16:creationId xmlns:a16="http://schemas.microsoft.com/office/drawing/2014/main" id="{41CC414D-2F31-49C2-A8EC-D76FA263D8B7}"/>
              </a:ext>
            </a:extLst>
          </p:cNvPr>
          <p:cNvSpPr/>
          <p:nvPr/>
        </p:nvSpPr>
        <p:spPr>
          <a:xfrm>
            <a:off x="3819041" y="2926379"/>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1" name="Rectangle 80">
            <a:extLst>
              <a:ext uri="{FF2B5EF4-FFF2-40B4-BE49-F238E27FC236}">
                <a16:creationId xmlns:a16="http://schemas.microsoft.com/office/drawing/2014/main" id="{5D84D4F1-8ECA-45FF-BA36-507EB7756B54}"/>
              </a:ext>
            </a:extLst>
          </p:cNvPr>
          <p:cNvSpPr/>
          <p:nvPr/>
        </p:nvSpPr>
        <p:spPr>
          <a:xfrm>
            <a:off x="3991356" y="3122388"/>
            <a:ext cx="1319749" cy="147732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itchFamily="18" charset="0"/>
                <a:cs typeface="Times New Roman" pitchFamily="18" charset="0"/>
              </a:rPr>
              <a:t>Hate Speech Detection using Latent Semantic Analysis. A new methodology has been developed to  identify emotions using text on Image.</a:t>
            </a:r>
          </a:p>
        </p:txBody>
      </p:sp>
      <p:sp>
        <p:nvSpPr>
          <p:cNvPr id="82" name="Rounded Rectangle 116">
            <a:extLst>
              <a:ext uri="{FF2B5EF4-FFF2-40B4-BE49-F238E27FC236}">
                <a16:creationId xmlns:a16="http://schemas.microsoft.com/office/drawing/2014/main" id="{400E10AB-CF4F-4E10-A20C-1B50EDA410EB}"/>
              </a:ext>
            </a:extLst>
          </p:cNvPr>
          <p:cNvSpPr/>
          <p:nvPr/>
        </p:nvSpPr>
        <p:spPr>
          <a:xfrm>
            <a:off x="5473417" y="2923569"/>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Rectangle 82">
            <a:extLst>
              <a:ext uri="{FF2B5EF4-FFF2-40B4-BE49-F238E27FC236}">
                <a16:creationId xmlns:a16="http://schemas.microsoft.com/office/drawing/2014/main" id="{84243E1A-08FF-49E8-B38E-48D61F46165A}"/>
              </a:ext>
            </a:extLst>
          </p:cNvPr>
          <p:cNvSpPr/>
          <p:nvPr/>
        </p:nvSpPr>
        <p:spPr>
          <a:xfrm>
            <a:off x="5700507" y="3218076"/>
            <a:ext cx="1105295" cy="1107996"/>
          </a:xfrm>
          <a:prstGeom prst="rect">
            <a:avLst/>
          </a:prstGeom>
        </p:spPr>
        <p:txBody>
          <a:bodyPr wrap="square" lIns="0" tIns="0" rIns="0" bIns="0">
            <a:spAutoFit/>
          </a:bodyPr>
          <a:lstStyle/>
          <a:p>
            <a:r>
              <a:rPr kumimoji="0" lang="en-US" sz="1200" kern="1200" dirty="0">
                <a:solidFill>
                  <a:schemeClr val="tx1"/>
                </a:solidFill>
                <a:effectLst/>
                <a:latin typeface="Times New Roman" panose="02020603050405020304" pitchFamily="18" charset="0"/>
                <a:ea typeface="+mn-ea"/>
                <a:cs typeface="Times New Roman" panose="02020603050405020304" pitchFamily="18" charset="0"/>
              </a:rPr>
              <a:t>Similarity value 0.6225636956 is considered as hate word And if below not a hate word. </a:t>
            </a:r>
            <a:endParaRPr lang="en-US" sz="1200" dirty="0">
              <a:latin typeface="Times New Roman" panose="02020603050405020304" pitchFamily="18" charset="0"/>
              <a:cs typeface="Times New Roman" panose="02020603050405020304" pitchFamily="18" charset="0"/>
            </a:endParaRPr>
          </a:p>
        </p:txBody>
      </p:sp>
      <p:pic>
        <p:nvPicPr>
          <p:cNvPr id="30" name="Google Shape;108;p1">
            <a:extLst>
              <a:ext uri="{FF2B5EF4-FFF2-40B4-BE49-F238E27FC236}">
                <a16:creationId xmlns:a16="http://schemas.microsoft.com/office/drawing/2014/main" id="{373AC273-4B49-4076-B4B3-901B8EE8F819}"/>
              </a:ext>
            </a:extLst>
          </p:cNvPr>
          <p:cNvPicPr preferRelativeResize="0"/>
          <p:nvPr/>
        </p:nvPicPr>
        <p:blipFill rotWithShape="1">
          <a:blip r:embed="rId7">
            <a:alphaModFix/>
          </a:blip>
          <a:srcRect/>
          <a:stretch/>
        </p:blipFill>
        <p:spPr>
          <a:xfrm>
            <a:off x="8712986" y="4782288"/>
            <a:ext cx="346788" cy="335193"/>
          </a:xfrm>
          <a:prstGeom prst="rect">
            <a:avLst/>
          </a:prstGeom>
          <a:noFill/>
          <a:ln>
            <a:noFill/>
          </a:ln>
        </p:spPr>
      </p:pic>
      <p:sp>
        <p:nvSpPr>
          <p:cNvPr id="31" name="Title 1">
            <a:extLst>
              <a:ext uri="{FF2B5EF4-FFF2-40B4-BE49-F238E27FC236}">
                <a16:creationId xmlns:a16="http://schemas.microsoft.com/office/drawing/2014/main" id="{D321F19A-2852-4C7B-AE28-B6F6563F909D}"/>
              </a:ext>
            </a:extLst>
          </p:cNvPr>
          <p:cNvSpPr txBox="1">
            <a:spLocks/>
          </p:cNvSpPr>
          <p:nvPr/>
        </p:nvSpPr>
        <p:spPr>
          <a:xfrm>
            <a:off x="2573542" y="230479"/>
            <a:ext cx="4155375" cy="492443"/>
          </a:xfrm>
          <a:prstGeom prst="rect">
            <a:avLst/>
          </a:prstGeom>
        </p:spPr>
        <p:txBody>
          <a:bodyPr wrap="square" lIns="0" tIns="0" rIns="0" bIns="0">
            <a:spAutoFit/>
          </a:bodyPr>
          <a:lstStyle>
            <a:lvl1pPr>
              <a:defRPr sz="2800" b="1" i="0">
                <a:solidFill>
                  <a:schemeClr val="tx1"/>
                </a:solidFill>
                <a:latin typeface="Trebuchet MS"/>
                <a:ea typeface="+mj-ea"/>
                <a:cs typeface="Trebuchet MS"/>
              </a:defRPr>
            </a:lvl1pPr>
          </a:lstStyle>
          <a:p>
            <a:r>
              <a:rPr lang="en-US" sz="3200" kern="0" dirty="0"/>
              <a:t>Review of Literature</a:t>
            </a:r>
          </a:p>
        </p:txBody>
      </p:sp>
    </p:spTree>
    <p:extLst>
      <p:ext uri="{BB962C8B-B14F-4D97-AF65-F5344CB8AC3E}">
        <p14:creationId xmlns:p14="http://schemas.microsoft.com/office/powerpoint/2010/main" val="2448697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F40E43-8940-484E-9839-79C35A195F0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ABF40E43-8940-484E-9839-79C35A195F0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76A39F8-EB67-45E5-B9CA-43362E059B79}"/>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dirty="0">
              <a:latin typeface="Arial Black" panose="020B0A04020102020204" pitchFamily="34" charset="0"/>
              <a:ea typeface="+mj-ea"/>
              <a:cs typeface="+mj-cs"/>
              <a:sym typeface="Arial Black" panose="020B0A04020102020204" pitchFamily="34" charset="0"/>
            </a:endParaRPr>
          </a:p>
        </p:txBody>
      </p:sp>
      <p:sp>
        <p:nvSpPr>
          <p:cNvPr id="117" name="Rounded Rectangle 116">
            <a:extLst>
              <a:ext uri="{FF2B5EF4-FFF2-40B4-BE49-F238E27FC236}">
                <a16:creationId xmlns:a16="http://schemas.microsoft.com/office/drawing/2014/main" id="{4DBEF6CD-DF4F-B347-A809-5D84E58548B3}"/>
              </a:ext>
            </a:extLst>
          </p:cNvPr>
          <p:cNvSpPr/>
          <p:nvPr/>
        </p:nvSpPr>
        <p:spPr>
          <a:xfrm>
            <a:off x="2146751" y="940135"/>
            <a:ext cx="1533628" cy="18288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8" name="Rounded Rectangle 117">
            <a:extLst>
              <a:ext uri="{FF2B5EF4-FFF2-40B4-BE49-F238E27FC236}">
                <a16:creationId xmlns:a16="http://schemas.microsoft.com/office/drawing/2014/main" id="{CA6B596D-BB88-154F-A35D-9F9956FBACB7}"/>
              </a:ext>
            </a:extLst>
          </p:cNvPr>
          <p:cNvSpPr/>
          <p:nvPr/>
        </p:nvSpPr>
        <p:spPr>
          <a:xfrm>
            <a:off x="2296341" y="845576"/>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0" name="Rectangle 119">
            <a:extLst>
              <a:ext uri="{FF2B5EF4-FFF2-40B4-BE49-F238E27FC236}">
                <a16:creationId xmlns:a16="http://schemas.microsoft.com/office/drawing/2014/main" id="{06F17D6C-8293-AE4F-8E4B-1D2A72C06B96}"/>
              </a:ext>
            </a:extLst>
          </p:cNvPr>
          <p:cNvSpPr/>
          <p:nvPr/>
        </p:nvSpPr>
        <p:spPr>
          <a:xfrm>
            <a:off x="2326241" y="919225"/>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Title Of Paper</a:t>
            </a:r>
          </a:p>
        </p:txBody>
      </p:sp>
      <p:sp>
        <p:nvSpPr>
          <p:cNvPr id="121" name="Rectangle 120">
            <a:extLst>
              <a:ext uri="{FF2B5EF4-FFF2-40B4-BE49-F238E27FC236}">
                <a16:creationId xmlns:a16="http://schemas.microsoft.com/office/drawing/2014/main" id="{DE94B12B-4310-8E4E-BBDE-CAC9788B540B}"/>
              </a:ext>
            </a:extLst>
          </p:cNvPr>
          <p:cNvSpPr/>
          <p:nvPr/>
        </p:nvSpPr>
        <p:spPr>
          <a:xfrm>
            <a:off x="2336649" y="1343329"/>
            <a:ext cx="1153831" cy="923330"/>
          </a:xfrm>
          <a:prstGeom prst="rect">
            <a:avLst/>
          </a:prstGeom>
        </p:spPr>
        <p:txBody>
          <a:bodyPr wrap="square" lIns="0" tIns="0" rIns="0" bIns="0">
            <a:spAutoFit/>
          </a:bodyPr>
          <a:lstStyle/>
          <a:p>
            <a:r>
              <a:rPr lang="en-US" sz="1200" dirty="0">
                <a:latin typeface="Times New Roman" pitchFamily="18" charset="0"/>
                <a:cs typeface="Times New Roman" pitchFamily="18" charset="0"/>
              </a:rPr>
              <a:t>Threat and Abusive Language Detection on Social Media in Bengali Language</a:t>
            </a:r>
          </a:p>
        </p:txBody>
      </p:sp>
      <p:sp>
        <p:nvSpPr>
          <p:cNvPr id="125" name="Rounded Rectangle 124">
            <a:extLst>
              <a:ext uri="{FF2B5EF4-FFF2-40B4-BE49-F238E27FC236}">
                <a16:creationId xmlns:a16="http://schemas.microsoft.com/office/drawing/2014/main" id="{8B1787FE-84E1-3C42-9CDD-D626DDD8A789}"/>
              </a:ext>
            </a:extLst>
          </p:cNvPr>
          <p:cNvSpPr/>
          <p:nvPr/>
        </p:nvSpPr>
        <p:spPr>
          <a:xfrm>
            <a:off x="3814982" y="940135"/>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3" name="Rounded Rectangle 132">
            <a:extLst>
              <a:ext uri="{FF2B5EF4-FFF2-40B4-BE49-F238E27FC236}">
                <a16:creationId xmlns:a16="http://schemas.microsoft.com/office/drawing/2014/main" id="{56A835E5-6486-0843-A1FE-A7F27816D0EC}"/>
              </a:ext>
            </a:extLst>
          </p:cNvPr>
          <p:cNvSpPr/>
          <p:nvPr/>
        </p:nvSpPr>
        <p:spPr>
          <a:xfrm>
            <a:off x="5483213" y="940135"/>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Rounded Rectangle 117">
            <a:extLst>
              <a:ext uri="{FF2B5EF4-FFF2-40B4-BE49-F238E27FC236}">
                <a16:creationId xmlns:a16="http://schemas.microsoft.com/office/drawing/2014/main" id="{D859B761-E4B3-4318-AEBF-E6094E01684F}"/>
              </a:ext>
            </a:extLst>
          </p:cNvPr>
          <p:cNvSpPr/>
          <p:nvPr/>
        </p:nvSpPr>
        <p:spPr>
          <a:xfrm>
            <a:off x="3944978" y="848878"/>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0" name="Rectangle 69">
            <a:extLst>
              <a:ext uri="{FF2B5EF4-FFF2-40B4-BE49-F238E27FC236}">
                <a16:creationId xmlns:a16="http://schemas.microsoft.com/office/drawing/2014/main" id="{356FD694-BAEF-4FA2-A6DC-F5989364CA41}"/>
              </a:ext>
            </a:extLst>
          </p:cNvPr>
          <p:cNvSpPr/>
          <p:nvPr/>
        </p:nvSpPr>
        <p:spPr>
          <a:xfrm>
            <a:off x="3987686" y="930894"/>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Review</a:t>
            </a:r>
          </a:p>
        </p:txBody>
      </p:sp>
      <p:sp>
        <p:nvSpPr>
          <p:cNvPr id="71" name="Rounded Rectangle 117">
            <a:extLst>
              <a:ext uri="{FF2B5EF4-FFF2-40B4-BE49-F238E27FC236}">
                <a16:creationId xmlns:a16="http://schemas.microsoft.com/office/drawing/2014/main" id="{4B95911C-4504-44FD-9097-59BAB27D3ED5}"/>
              </a:ext>
            </a:extLst>
          </p:cNvPr>
          <p:cNvSpPr/>
          <p:nvPr/>
        </p:nvSpPr>
        <p:spPr>
          <a:xfrm>
            <a:off x="5634156" y="841556"/>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2" name="Rectangle 71">
            <a:extLst>
              <a:ext uri="{FF2B5EF4-FFF2-40B4-BE49-F238E27FC236}">
                <a16:creationId xmlns:a16="http://schemas.microsoft.com/office/drawing/2014/main" id="{13B50C6C-B824-45EF-BB55-FF79864B687C}"/>
              </a:ext>
            </a:extLst>
          </p:cNvPr>
          <p:cNvSpPr/>
          <p:nvPr/>
        </p:nvSpPr>
        <p:spPr>
          <a:xfrm>
            <a:off x="5667068" y="913867"/>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Issues</a:t>
            </a:r>
          </a:p>
        </p:txBody>
      </p:sp>
      <p:sp>
        <p:nvSpPr>
          <p:cNvPr id="75" name="Rectangle 74">
            <a:extLst>
              <a:ext uri="{FF2B5EF4-FFF2-40B4-BE49-F238E27FC236}">
                <a16:creationId xmlns:a16="http://schemas.microsoft.com/office/drawing/2014/main" id="{25053992-EB0B-4952-8F93-9FC0DD504332}"/>
              </a:ext>
            </a:extLst>
          </p:cNvPr>
          <p:cNvSpPr/>
          <p:nvPr/>
        </p:nvSpPr>
        <p:spPr>
          <a:xfrm>
            <a:off x="3989983" y="1343329"/>
            <a:ext cx="1211336" cy="1292662"/>
          </a:xfrm>
          <a:prstGeom prst="rect">
            <a:avLst/>
          </a:prstGeom>
        </p:spPr>
        <p:txBody>
          <a:bodyPr wrap="square" lIns="0" tIns="0" rIns="0" bIns="0">
            <a:spAutoFit/>
          </a:bodyPr>
          <a:lstStyle/>
          <a:p>
            <a:pPr algn="just">
              <a:buFont typeface="Arial" pitchFamily="34" charset="0"/>
              <a:buNone/>
            </a:pPr>
            <a:r>
              <a:rPr lang="en-US" sz="1050" dirty="0">
                <a:latin typeface="Times New Roman" pitchFamily="18" charset="0"/>
                <a:cs typeface="Times New Roman" pitchFamily="18" charset="0"/>
              </a:rPr>
              <a:t>Different types of  algorithms like Multinomial Naïve Bayes, Support Vector Machine, CNN-LSTM are used and the data set used is of Facebook.</a:t>
            </a:r>
          </a:p>
        </p:txBody>
      </p:sp>
      <p:sp>
        <p:nvSpPr>
          <p:cNvPr id="76" name="Rectangle 75">
            <a:extLst>
              <a:ext uri="{FF2B5EF4-FFF2-40B4-BE49-F238E27FC236}">
                <a16:creationId xmlns:a16="http://schemas.microsoft.com/office/drawing/2014/main" id="{32BFE4AC-398E-4047-A66E-CBD889B508EA}"/>
              </a:ext>
            </a:extLst>
          </p:cNvPr>
          <p:cNvSpPr/>
          <p:nvPr/>
        </p:nvSpPr>
        <p:spPr>
          <a:xfrm>
            <a:off x="5728051" y="1312551"/>
            <a:ext cx="1181443" cy="135421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kern="1200" dirty="0">
                <a:solidFill>
                  <a:schemeClr val="tx1"/>
                </a:solidFill>
                <a:effectLst/>
                <a:latin typeface="Times New Roman" panose="02020603050405020304" pitchFamily="18" charset="0"/>
                <a:ea typeface="+mn-ea"/>
                <a:cs typeface="Times New Roman" panose="02020603050405020304" pitchFamily="18" charset="0"/>
              </a:rPr>
              <a:t>From results it was observed that both CNN-LSTM and SVM provide the same accuracy , however on larger dataset CNN-LSTM works well. </a:t>
            </a:r>
            <a:endParaRPr kumimoji="0" lang="en-IN" sz="1100" kern="1200" dirty="0">
              <a:solidFill>
                <a:schemeClr val="tx1"/>
              </a:solidFill>
              <a:effectLst/>
              <a:latin typeface="Times New Roman" panose="02020603050405020304" pitchFamily="18" charset="0"/>
              <a:ea typeface="+mn-ea"/>
              <a:cs typeface="Times New Roman" panose="02020603050405020304" pitchFamily="18" charset="0"/>
            </a:endParaRPr>
          </a:p>
        </p:txBody>
      </p:sp>
      <p:sp>
        <p:nvSpPr>
          <p:cNvPr id="78" name="Rounded Rectangle 116">
            <a:extLst>
              <a:ext uri="{FF2B5EF4-FFF2-40B4-BE49-F238E27FC236}">
                <a16:creationId xmlns:a16="http://schemas.microsoft.com/office/drawing/2014/main" id="{CC6B5C6E-DA30-4E18-B976-CF9056A79343}"/>
              </a:ext>
            </a:extLst>
          </p:cNvPr>
          <p:cNvSpPr/>
          <p:nvPr/>
        </p:nvSpPr>
        <p:spPr>
          <a:xfrm>
            <a:off x="2146751" y="2934438"/>
            <a:ext cx="1533628" cy="18288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9" name="Rectangle 78">
            <a:extLst>
              <a:ext uri="{FF2B5EF4-FFF2-40B4-BE49-F238E27FC236}">
                <a16:creationId xmlns:a16="http://schemas.microsoft.com/office/drawing/2014/main" id="{B9F9157B-8840-4605-83D3-852DAF0BBFFE}"/>
              </a:ext>
            </a:extLst>
          </p:cNvPr>
          <p:cNvSpPr/>
          <p:nvPr/>
        </p:nvSpPr>
        <p:spPr>
          <a:xfrm>
            <a:off x="2336649" y="3226135"/>
            <a:ext cx="1277715" cy="1107996"/>
          </a:xfrm>
          <a:prstGeom prst="rect">
            <a:avLst/>
          </a:prstGeom>
        </p:spPr>
        <p:txBody>
          <a:bodyPr wrap="square" lIns="0" tIns="0" rIns="0" bIns="0">
            <a:spAutoFit/>
          </a:bodyPr>
          <a:lstStyle/>
          <a:p>
            <a:r>
              <a:rPr kumimoji="0" lang="en-US" sz="1200" b="0" i="0" u="none" strike="noStrike" kern="0" cap="none" spc="0" normalizeH="0" baseline="0" noProof="0" dirty="0">
                <a:ln>
                  <a:noFill/>
                </a:ln>
                <a:effectLst/>
                <a:uLnTx/>
                <a:uFillTx/>
                <a:latin typeface="Times New Roman" pitchFamily="18" charset="0"/>
                <a:ea typeface="Arial"/>
                <a:cs typeface="Times New Roman" pitchFamily="18" charset="0"/>
                <a:sym typeface="Arial"/>
              </a:rPr>
              <a:t>Application of Machine Learning Techniques for Hate Speech Detection in Mobile Applications.</a:t>
            </a:r>
            <a:endParaRPr lang="en-US" sz="1200" dirty="0">
              <a:latin typeface="Times New Roman" panose="02020603050405020304" pitchFamily="18" charset="0"/>
              <a:cs typeface="Times New Roman" panose="02020603050405020304" pitchFamily="18" charset="0"/>
            </a:endParaRPr>
          </a:p>
        </p:txBody>
      </p:sp>
      <p:sp>
        <p:nvSpPr>
          <p:cNvPr id="80" name="Rounded Rectangle 116">
            <a:extLst>
              <a:ext uri="{FF2B5EF4-FFF2-40B4-BE49-F238E27FC236}">
                <a16:creationId xmlns:a16="http://schemas.microsoft.com/office/drawing/2014/main" id="{41CC414D-2F31-49C2-A8EC-D76FA263D8B7}"/>
              </a:ext>
            </a:extLst>
          </p:cNvPr>
          <p:cNvSpPr/>
          <p:nvPr/>
        </p:nvSpPr>
        <p:spPr>
          <a:xfrm>
            <a:off x="3828837" y="2934438"/>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1" name="Rectangle 80">
            <a:extLst>
              <a:ext uri="{FF2B5EF4-FFF2-40B4-BE49-F238E27FC236}">
                <a16:creationId xmlns:a16="http://schemas.microsoft.com/office/drawing/2014/main" id="{5D84D4F1-8ECA-45FF-BA36-507EB7756B54}"/>
              </a:ext>
            </a:extLst>
          </p:cNvPr>
          <p:cNvSpPr/>
          <p:nvPr/>
        </p:nvSpPr>
        <p:spPr>
          <a:xfrm>
            <a:off x="3935776" y="3064552"/>
            <a:ext cx="1319749" cy="1615827"/>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1050" b="0" i="0" u="none" strike="noStrike" kern="0" cap="none" spc="0" normalizeH="0" baseline="0" noProof="0" dirty="0">
                <a:ln>
                  <a:noFill/>
                </a:ln>
                <a:effectLst/>
                <a:uLnTx/>
                <a:uFillTx/>
                <a:latin typeface="Times New Roman" pitchFamily="18" charset="0"/>
                <a:ea typeface="Arial"/>
                <a:cs typeface="Times New Roman" pitchFamily="18" charset="0"/>
                <a:sym typeface="Arial"/>
              </a:rPr>
              <a:t>To distinguish text-containing offensive or hate speech, artificial Neural Network (ANN) techniques are used. Synthetic minority oversampling technique(SMOT) is used for text classification processes.</a:t>
            </a:r>
          </a:p>
        </p:txBody>
      </p:sp>
      <p:sp>
        <p:nvSpPr>
          <p:cNvPr id="82" name="Rounded Rectangle 116">
            <a:extLst>
              <a:ext uri="{FF2B5EF4-FFF2-40B4-BE49-F238E27FC236}">
                <a16:creationId xmlns:a16="http://schemas.microsoft.com/office/drawing/2014/main" id="{400E10AB-CF4F-4E10-A20C-1B50EDA410EB}"/>
              </a:ext>
            </a:extLst>
          </p:cNvPr>
          <p:cNvSpPr/>
          <p:nvPr/>
        </p:nvSpPr>
        <p:spPr>
          <a:xfrm>
            <a:off x="5483213" y="2931628"/>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Rectangle 82">
            <a:extLst>
              <a:ext uri="{FF2B5EF4-FFF2-40B4-BE49-F238E27FC236}">
                <a16:creationId xmlns:a16="http://schemas.microsoft.com/office/drawing/2014/main" id="{84243E1A-08FF-49E8-B38E-48D61F46165A}"/>
              </a:ext>
            </a:extLst>
          </p:cNvPr>
          <p:cNvSpPr/>
          <p:nvPr/>
        </p:nvSpPr>
        <p:spPr>
          <a:xfrm>
            <a:off x="5710303" y="3226135"/>
            <a:ext cx="1105295" cy="738664"/>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1200" b="0" i="0" u="none" strike="noStrike" kern="0" cap="none" spc="0" normalizeH="0" baseline="0" noProof="0" dirty="0">
                <a:ln>
                  <a:noFill/>
                </a:ln>
                <a:effectLst/>
                <a:uLnTx/>
                <a:uFillTx/>
                <a:latin typeface="Times New Roman" pitchFamily="18" charset="0"/>
                <a:ea typeface="Arial"/>
                <a:cs typeface="Times New Roman" pitchFamily="18" charset="0"/>
                <a:sym typeface="Arial"/>
              </a:rPr>
              <a:t>Algorithms get degraded if there is a variety of data.</a:t>
            </a:r>
          </a:p>
        </p:txBody>
      </p:sp>
      <p:pic>
        <p:nvPicPr>
          <p:cNvPr id="30" name="Google Shape;108;p1">
            <a:extLst>
              <a:ext uri="{FF2B5EF4-FFF2-40B4-BE49-F238E27FC236}">
                <a16:creationId xmlns:a16="http://schemas.microsoft.com/office/drawing/2014/main" id="{A6D22689-739C-4645-86B7-A5CD57EEA51A}"/>
              </a:ext>
            </a:extLst>
          </p:cNvPr>
          <p:cNvPicPr preferRelativeResize="0"/>
          <p:nvPr/>
        </p:nvPicPr>
        <p:blipFill rotWithShape="1">
          <a:blip r:embed="rId7">
            <a:alphaModFix/>
          </a:blip>
          <a:srcRect/>
          <a:stretch/>
        </p:blipFill>
        <p:spPr>
          <a:xfrm>
            <a:off x="8712986" y="4782288"/>
            <a:ext cx="346788" cy="335193"/>
          </a:xfrm>
          <a:prstGeom prst="rect">
            <a:avLst/>
          </a:prstGeom>
          <a:noFill/>
          <a:ln>
            <a:noFill/>
          </a:ln>
        </p:spPr>
      </p:pic>
      <p:sp>
        <p:nvSpPr>
          <p:cNvPr id="31" name="Title 1">
            <a:extLst>
              <a:ext uri="{FF2B5EF4-FFF2-40B4-BE49-F238E27FC236}">
                <a16:creationId xmlns:a16="http://schemas.microsoft.com/office/drawing/2014/main" id="{DF12D8BD-F49D-4163-B6C6-355957F8249D}"/>
              </a:ext>
            </a:extLst>
          </p:cNvPr>
          <p:cNvSpPr txBox="1">
            <a:spLocks/>
          </p:cNvSpPr>
          <p:nvPr/>
        </p:nvSpPr>
        <p:spPr>
          <a:xfrm>
            <a:off x="2494312" y="223491"/>
            <a:ext cx="4155375" cy="492443"/>
          </a:xfrm>
          <a:prstGeom prst="rect">
            <a:avLst/>
          </a:prstGeom>
        </p:spPr>
        <p:txBody>
          <a:bodyPr wrap="square" lIns="0" tIns="0" rIns="0" bIns="0">
            <a:spAutoFit/>
          </a:bodyPr>
          <a:lstStyle>
            <a:lvl1pPr>
              <a:defRPr sz="2800" b="1" i="0">
                <a:solidFill>
                  <a:schemeClr val="tx1"/>
                </a:solidFill>
                <a:latin typeface="Trebuchet MS"/>
                <a:ea typeface="+mj-ea"/>
                <a:cs typeface="Trebuchet MS"/>
              </a:defRPr>
            </a:lvl1pPr>
          </a:lstStyle>
          <a:p>
            <a:r>
              <a:rPr lang="en-US" sz="3200" kern="0" dirty="0"/>
              <a:t>Review of Literature</a:t>
            </a:r>
          </a:p>
        </p:txBody>
      </p:sp>
    </p:spTree>
    <p:extLst>
      <p:ext uri="{BB962C8B-B14F-4D97-AF65-F5344CB8AC3E}">
        <p14:creationId xmlns:p14="http://schemas.microsoft.com/office/powerpoint/2010/main" val="52469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F40E43-8940-484E-9839-79C35A195F0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ABF40E43-8940-484E-9839-79C35A195F0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76A39F8-EB67-45E5-B9CA-43362E059B79}"/>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8D08723-09EB-4944-9FDF-BF0DFD308935}"/>
              </a:ext>
            </a:extLst>
          </p:cNvPr>
          <p:cNvSpPr>
            <a:spLocks noGrp="1"/>
          </p:cNvSpPr>
          <p:nvPr>
            <p:ph type="title"/>
          </p:nvPr>
        </p:nvSpPr>
        <p:spPr>
          <a:xfrm>
            <a:off x="261257" y="273844"/>
            <a:ext cx="8507990" cy="430887"/>
          </a:xfrm>
        </p:spPr>
        <p:txBody>
          <a:bodyPr/>
          <a:lstStyle/>
          <a:p>
            <a:r>
              <a:rPr lang="en-US" dirty="0">
                <a:solidFill>
                  <a:schemeClr val="bg1"/>
                </a:solidFill>
              </a:rPr>
              <a:t>Daily Event</a:t>
            </a:r>
          </a:p>
        </p:txBody>
      </p:sp>
      <p:sp>
        <p:nvSpPr>
          <p:cNvPr id="117" name="Rounded Rectangle 116">
            <a:extLst>
              <a:ext uri="{FF2B5EF4-FFF2-40B4-BE49-F238E27FC236}">
                <a16:creationId xmlns:a16="http://schemas.microsoft.com/office/drawing/2014/main" id="{4DBEF6CD-DF4F-B347-A809-5D84E58548B3}"/>
              </a:ext>
            </a:extLst>
          </p:cNvPr>
          <p:cNvSpPr/>
          <p:nvPr/>
        </p:nvSpPr>
        <p:spPr>
          <a:xfrm>
            <a:off x="2136955" y="1779820"/>
            <a:ext cx="1533628" cy="18288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8" name="Rounded Rectangle 117">
            <a:extLst>
              <a:ext uri="{FF2B5EF4-FFF2-40B4-BE49-F238E27FC236}">
                <a16:creationId xmlns:a16="http://schemas.microsoft.com/office/drawing/2014/main" id="{CA6B596D-BB88-154F-A35D-9F9956FBACB7}"/>
              </a:ext>
            </a:extLst>
          </p:cNvPr>
          <p:cNvSpPr/>
          <p:nvPr/>
        </p:nvSpPr>
        <p:spPr>
          <a:xfrm>
            <a:off x="2286545" y="1685261"/>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0" name="Rectangle 119">
            <a:extLst>
              <a:ext uri="{FF2B5EF4-FFF2-40B4-BE49-F238E27FC236}">
                <a16:creationId xmlns:a16="http://schemas.microsoft.com/office/drawing/2014/main" id="{06F17D6C-8293-AE4F-8E4B-1D2A72C06B96}"/>
              </a:ext>
            </a:extLst>
          </p:cNvPr>
          <p:cNvSpPr/>
          <p:nvPr/>
        </p:nvSpPr>
        <p:spPr>
          <a:xfrm>
            <a:off x="2316445" y="1758910"/>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Title Of Paper</a:t>
            </a:r>
          </a:p>
        </p:txBody>
      </p:sp>
      <p:sp>
        <p:nvSpPr>
          <p:cNvPr id="121" name="Rectangle 120">
            <a:extLst>
              <a:ext uri="{FF2B5EF4-FFF2-40B4-BE49-F238E27FC236}">
                <a16:creationId xmlns:a16="http://schemas.microsoft.com/office/drawing/2014/main" id="{DE94B12B-4310-8E4E-BBDE-CAC9788B540B}"/>
              </a:ext>
            </a:extLst>
          </p:cNvPr>
          <p:cNvSpPr/>
          <p:nvPr/>
        </p:nvSpPr>
        <p:spPr>
          <a:xfrm>
            <a:off x="2344291" y="2151298"/>
            <a:ext cx="1311307" cy="1184940"/>
          </a:xfrm>
          <a:prstGeom prst="rect">
            <a:avLst/>
          </a:prstGeom>
        </p:spPr>
        <p:txBody>
          <a:bodyPr wrap="square" lIns="0" tIns="0" rIns="0" bIns="0">
            <a:spAutoFit/>
          </a:bodyPr>
          <a:lstStyle/>
          <a:p>
            <a:r>
              <a:rPr lang="en-US" sz="1100" dirty="0">
                <a:latin typeface="Times New Roman" pitchFamily="18" charset="0"/>
                <a:cs typeface="Times New Roman" pitchFamily="18" charset="0"/>
              </a:rPr>
              <a:t>Hate Speech on Twitter: A Pragmatic Approach to Collect Hateful and Offensive Expressions and Perform Hate Speech Detection.</a:t>
            </a:r>
          </a:p>
        </p:txBody>
      </p:sp>
      <p:sp>
        <p:nvSpPr>
          <p:cNvPr id="125" name="Rounded Rectangle 124">
            <a:extLst>
              <a:ext uri="{FF2B5EF4-FFF2-40B4-BE49-F238E27FC236}">
                <a16:creationId xmlns:a16="http://schemas.microsoft.com/office/drawing/2014/main" id="{8B1787FE-84E1-3C42-9CDD-D626DDD8A789}"/>
              </a:ext>
            </a:extLst>
          </p:cNvPr>
          <p:cNvSpPr/>
          <p:nvPr/>
        </p:nvSpPr>
        <p:spPr>
          <a:xfrm>
            <a:off x="3805186" y="1779820"/>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3" name="Rounded Rectangle 132">
            <a:extLst>
              <a:ext uri="{FF2B5EF4-FFF2-40B4-BE49-F238E27FC236}">
                <a16:creationId xmlns:a16="http://schemas.microsoft.com/office/drawing/2014/main" id="{56A835E5-6486-0843-A1FE-A7F27816D0EC}"/>
              </a:ext>
            </a:extLst>
          </p:cNvPr>
          <p:cNvSpPr/>
          <p:nvPr/>
        </p:nvSpPr>
        <p:spPr>
          <a:xfrm>
            <a:off x="5473417" y="1779820"/>
            <a:ext cx="1533628" cy="1828800"/>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4" name="Title 1">
            <a:extLst>
              <a:ext uri="{FF2B5EF4-FFF2-40B4-BE49-F238E27FC236}">
                <a16:creationId xmlns:a16="http://schemas.microsoft.com/office/drawing/2014/main" id="{F18144EF-12F5-4C1E-80D3-68BB3AD5362A}"/>
              </a:ext>
            </a:extLst>
          </p:cNvPr>
          <p:cNvSpPr txBox="1">
            <a:spLocks/>
          </p:cNvSpPr>
          <p:nvPr/>
        </p:nvSpPr>
        <p:spPr>
          <a:xfrm>
            <a:off x="2562356" y="250605"/>
            <a:ext cx="3997935" cy="492443"/>
          </a:xfrm>
          <a:prstGeom prst="rect">
            <a:avLst/>
          </a:prstGeom>
        </p:spPr>
        <p:txBody>
          <a:bodyPr wrap="square" lIns="0" tIns="0" rIns="0" bIns="0">
            <a:spAutoFit/>
          </a:bodyPr>
          <a:lstStyle>
            <a:lvl1pPr>
              <a:defRPr sz="2800" b="1" i="0">
                <a:solidFill>
                  <a:schemeClr val="tx1"/>
                </a:solidFill>
                <a:latin typeface="Trebuchet MS"/>
                <a:ea typeface="+mj-ea"/>
                <a:cs typeface="Trebuchet MS"/>
              </a:defRPr>
            </a:lvl1pPr>
          </a:lstStyle>
          <a:p>
            <a:r>
              <a:rPr lang="en-US" sz="3200" kern="0" dirty="0"/>
              <a:t>Review of Literature</a:t>
            </a:r>
          </a:p>
        </p:txBody>
      </p:sp>
      <p:sp>
        <p:nvSpPr>
          <p:cNvPr id="69" name="Rounded Rectangle 117">
            <a:extLst>
              <a:ext uri="{FF2B5EF4-FFF2-40B4-BE49-F238E27FC236}">
                <a16:creationId xmlns:a16="http://schemas.microsoft.com/office/drawing/2014/main" id="{D859B761-E4B3-4318-AEBF-E6094E01684F}"/>
              </a:ext>
            </a:extLst>
          </p:cNvPr>
          <p:cNvSpPr/>
          <p:nvPr/>
        </p:nvSpPr>
        <p:spPr>
          <a:xfrm>
            <a:off x="3935182" y="1688563"/>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0" name="Rectangle 69">
            <a:extLst>
              <a:ext uri="{FF2B5EF4-FFF2-40B4-BE49-F238E27FC236}">
                <a16:creationId xmlns:a16="http://schemas.microsoft.com/office/drawing/2014/main" id="{356FD694-BAEF-4FA2-A6DC-F5989364CA41}"/>
              </a:ext>
            </a:extLst>
          </p:cNvPr>
          <p:cNvSpPr/>
          <p:nvPr/>
        </p:nvSpPr>
        <p:spPr>
          <a:xfrm>
            <a:off x="3977890" y="1770579"/>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Review</a:t>
            </a:r>
          </a:p>
        </p:txBody>
      </p:sp>
      <p:sp>
        <p:nvSpPr>
          <p:cNvPr id="71" name="Rounded Rectangle 117">
            <a:extLst>
              <a:ext uri="{FF2B5EF4-FFF2-40B4-BE49-F238E27FC236}">
                <a16:creationId xmlns:a16="http://schemas.microsoft.com/office/drawing/2014/main" id="{4B95911C-4504-44FD-9097-59BAB27D3ED5}"/>
              </a:ext>
            </a:extLst>
          </p:cNvPr>
          <p:cNvSpPr/>
          <p:nvPr/>
        </p:nvSpPr>
        <p:spPr>
          <a:xfrm>
            <a:off x="5624360" y="1681241"/>
            <a:ext cx="1254044" cy="336416"/>
          </a:xfrm>
          <a:prstGeom prst="roundRect">
            <a:avLst>
              <a:gd name="adj" fmla="val 50000"/>
            </a:avLst>
          </a:prstGeom>
          <a:solidFill>
            <a:srgbClr val="1684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2" name="Rectangle 71">
            <a:extLst>
              <a:ext uri="{FF2B5EF4-FFF2-40B4-BE49-F238E27FC236}">
                <a16:creationId xmlns:a16="http://schemas.microsoft.com/office/drawing/2014/main" id="{13B50C6C-B824-45EF-BB55-FF79864B687C}"/>
              </a:ext>
            </a:extLst>
          </p:cNvPr>
          <p:cNvSpPr/>
          <p:nvPr/>
        </p:nvSpPr>
        <p:spPr>
          <a:xfrm>
            <a:off x="5657272" y="1753552"/>
            <a:ext cx="1188220" cy="184666"/>
          </a:xfrm>
          <a:prstGeom prst="rect">
            <a:avLst/>
          </a:prstGeom>
        </p:spPr>
        <p:txBody>
          <a:bodyPr wrap="square" lIns="0" tIns="0" rIns="0" bIns="0">
            <a:spAutoFit/>
          </a:bodyPr>
          <a:lstStyle/>
          <a:p>
            <a:pPr algn="ctr"/>
            <a:r>
              <a:rPr lang="en-US" sz="1200" b="1" dirty="0">
                <a:solidFill>
                  <a:schemeClr val="bg1"/>
                </a:solidFill>
                <a:latin typeface="Arial" panose="020B0604020202020204" pitchFamily="34" charset="0"/>
                <a:cs typeface="Arial" panose="020B0604020202020204" pitchFamily="34" charset="0"/>
              </a:rPr>
              <a:t>Issues</a:t>
            </a:r>
          </a:p>
        </p:txBody>
      </p:sp>
      <p:sp>
        <p:nvSpPr>
          <p:cNvPr id="75" name="Rectangle 74">
            <a:extLst>
              <a:ext uri="{FF2B5EF4-FFF2-40B4-BE49-F238E27FC236}">
                <a16:creationId xmlns:a16="http://schemas.microsoft.com/office/drawing/2014/main" id="{25053992-EB0B-4952-8F93-9FC0DD504332}"/>
              </a:ext>
            </a:extLst>
          </p:cNvPr>
          <p:cNvSpPr/>
          <p:nvPr/>
        </p:nvSpPr>
        <p:spPr>
          <a:xfrm>
            <a:off x="3977890" y="2170468"/>
            <a:ext cx="1211336" cy="1292662"/>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 typeface="Arial" pitchFamily="34" charset="0"/>
              <a:buNone/>
              <a:tabLst/>
              <a:defRPr/>
            </a:pPr>
            <a:r>
              <a:rPr lang="en-US" sz="1050" dirty="0">
                <a:latin typeface="Times New Roman" pitchFamily="18" charset="0"/>
                <a:cs typeface="Times New Roman" pitchFamily="18" charset="0"/>
              </a:rPr>
              <a:t>Texts are classified in three classes: clean, offensive, hateful. Binary classification and ternary classification is performed for the test set and validation set.</a:t>
            </a:r>
          </a:p>
        </p:txBody>
      </p:sp>
      <p:sp>
        <p:nvSpPr>
          <p:cNvPr id="76" name="Rectangle 75">
            <a:extLst>
              <a:ext uri="{FF2B5EF4-FFF2-40B4-BE49-F238E27FC236}">
                <a16:creationId xmlns:a16="http://schemas.microsoft.com/office/drawing/2014/main" id="{32BFE4AC-398E-4047-A66E-CBD889B508EA}"/>
              </a:ext>
            </a:extLst>
          </p:cNvPr>
          <p:cNvSpPr/>
          <p:nvPr/>
        </p:nvSpPr>
        <p:spPr>
          <a:xfrm>
            <a:off x="5725182" y="2170468"/>
            <a:ext cx="1181443" cy="67710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kern="1200" dirty="0">
                <a:solidFill>
                  <a:schemeClr val="tx1"/>
                </a:solidFill>
                <a:effectLst/>
                <a:latin typeface="Times New Roman" panose="02020603050405020304" pitchFamily="18" charset="0"/>
                <a:ea typeface="+mn-ea"/>
                <a:cs typeface="Times New Roman" panose="02020603050405020304" pitchFamily="18" charset="0"/>
              </a:rPr>
              <a:t>Offensive text accuracy of 84% and hateful text accuracy of 74%. </a:t>
            </a:r>
            <a:endParaRPr kumimoji="0" lang="en-IN" sz="1100" kern="1200" dirty="0">
              <a:solidFill>
                <a:schemeClr val="tx1"/>
              </a:solidFill>
              <a:effectLst/>
              <a:latin typeface="Times New Roman" panose="02020603050405020304" pitchFamily="18" charset="0"/>
              <a:ea typeface="+mn-ea"/>
              <a:cs typeface="Times New Roman" panose="02020603050405020304" pitchFamily="18" charset="0"/>
            </a:endParaRPr>
          </a:p>
        </p:txBody>
      </p:sp>
      <p:pic>
        <p:nvPicPr>
          <p:cNvPr id="22" name="Google Shape;108;p1">
            <a:extLst>
              <a:ext uri="{FF2B5EF4-FFF2-40B4-BE49-F238E27FC236}">
                <a16:creationId xmlns:a16="http://schemas.microsoft.com/office/drawing/2014/main" id="{F1F3B182-C336-4DED-8DD3-896F91C95A8E}"/>
              </a:ext>
            </a:extLst>
          </p:cNvPr>
          <p:cNvPicPr preferRelativeResize="0"/>
          <p:nvPr/>
        </p:nvPicPr>
        <p:blipFill rotWithShape="1">
          <a:blip r:embed="rId7">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2512290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61A96-AAE5-4C44-BB31-056FC08AED76}"/>
              </a:ext>
            </a:extLst>
          </p:cNvPr>
          <p:cNvSpPr>
            <a:spLocks noGrp="1"/>
          </p:cNvSpPr>
          <p:nvPr>
            <p:ph type="title"/>
          </p:nvPr>
        </p:nvSpPr>
        <p:spPr>
          <a:xfrm>
            <a:off x="781048" y="348615"/>
            <a:ext cx="7581901" cy="984885"/>
          </a:xfrm>
        </p:spPr>
        <p:txBody>
          <a:bodyPr/>
          <a:lstStyle/>
          <a:p>
            <a:r>
              <a:rPr lang="en-US" sz="3200" dirty="0"/>
              <a:t>Problem Definition &amp; Proposed Solution</a:t>
            </a:r>
          </a:p>
        </p:txBody>
      </p:sp>
      <p:sp>
        <p:nvSpPr>
          <p:cNvPr id="3" name="Text Placeholder 2">
            <a:extLst>
              <a:ext uri="{FF2B5EF4-FFF2-40B4-BE49-F238E27FC236}">
                <a16:creationId xmlns:a16="http://schemas.microsoft.com/office/drawing/2014/main" id="{BE4D93D6-4EFC-41E9-9221-7852365EE810}"/>
              </a:ext>
            </a:extLst>
          </p:cNvPr>
          <p:cNvSpPr>
            <a:spLocks noGrp="1"/>
          </p:cNvSpPr>
          <p:nvPr>
            <p:ph type="body" idx="1"/>
          </p:nvPr>
        </p:nvSpPr>
        <p:spPr>
          <a:xfrm>
            <a:off x="457199" y="1352550"/>
            <a:ext cx="8229600" cy="830997"/>
          </a:xfrm>
        </p:spPr>
        <p:txBody>
          <a:bodyPr/>
          <a:lstStyle/>
          <a:p>
            <a:r>
              <a:rPr lang="en-US" sz="1800" dirty="0">
                <a:latin typeface="Gill Sans Ultra Bold" panose="020B0A02020104020203" pitchFamily="34" charset="0"/>
              </a:rPr>
              <a:t>🤬	</a:t>
            </a:r>
            <a:r>
              <a:rPr lang="en-US" sz="1800" dirty="0">
                <a:latin typeface="Trebuchet MS" panose="020B0603020202020204" pitchFamily="34" charset="0"/>
              </a:rPr>
              <a:t>To develop a hate speech detection model using various classifiers like Random Forest, Naïve Bayes, Support Vector Machine (SVM), and Logistic Regression. </a:t>
            </a:r>
            <a:endParaRPr lang="en-US" dirty="0"/>
          </a:p>
        </p:txBody>
      </p:sp>
      <p:sp>
        <p:nvSpPr>
          <p:cNvPr id="4" name="TextBox 3">
            <a:extLst>
              <a:ext uri="{FF2B5EF4-FFF2-40B4-BE49-F238E27FC236}">
                <a16:creationId xmlns:a16="http://schemas.microsoft.com/office/drawing/2014/main" id="{AB7AB69F-0AA8-4CB4-B3C2-8B9612BD6F44}"/>
              </a:ext>
            </a:extLst>
          </p:cNvPr>
          <p:cNvSpPr txBox="1"/>
          <p:nvPr/>
        </p:nvSpPr>
        <p:spPr>
          <a:xfrm>
            <a:off x="381000" y="2645212"/>
            <a:ext cx="6934200" cy="2031325"/>
          </a:xfrm>
          <a:prstGeom prst="rect">
            <a:avLst/>
          </a:prstGeom>
          <a:noFill/>
        </p:spPr>
        <p:txBody>
          <a:bodyPr wrap="square" rtlCol="0">
            <a:spAutoFit/>
          </a:bodyPr>
          <a:lstStyle/>
          <a:p>
            <a:r>
              <a:rPr lang="en-US" b="1" i="1" dirty="0"/>
              <a:t>Proposed Solution</a:t>
            </a:r>
            <a:r>
              <a:rPr lang="en-US" dirty="0"/>
              <a:t> :</a:t>
            </a:r>
          </a:p>
          <a:p>
            <a:pPr marL="285750" indent="-285750">
              <a:buFont typeface="Arial" panose="020B0604020202020204" pitchFamily="34" charset="0"/>
              <a:buChar char="•"/>
            </a:pPr>
            <a:r>
              <a:rPr lang="en-US" dirty="0">
                <a:latin typeface="Trebuchet MS" panose="020B0603020202020204" pitchFamily="34" charset="0"/>
              </a:rPr>
              <a:t>Analyzing various classifiers based on dataset and choosing the model with best output.</a:t>
            </a:r>
          </a:p>
          <a:p>
            <a:pPr marL="285750" indent="-285750">
              <a:buFont typeface="Arial" panose="020B0604020202020204" pitchFamily="34" charset="0"/>
              <a:buChar char="•"/>
            </a:pPr>
            <a:r>
              <a:rPr lang="en-US" dirty="0">
                <a:latin typeface="Trebuchet MS" panose="020B0603020202020204" pitchFamily="34" charset="0"/>
              </a:rPr>
              <a:t>Deploying the model in custom Android Chat Application.</a:t>
            </a:r>
          </a:p>
          <a:p>
            <a:pPr marL="285750" indent="-285750">
              <a:buFont typeface="Arial" panose="020B0604020202020204" pitchFamily="34" charset="0"/>
              <a:buChar char="•"/>
            </a:pPr>
            <a:r>
              <a:rPr lang="en-US" dirty="0">
                <a:latin typeface="Trebuchet MS" panose="020B0603020202020204" pitchFamily="34" charset="0"/>
              </a:rPr>
              <a:t>Censor the hate / abusive words from the chat between users.</a:t>
            </a:r>
          </a:p>
          <a:p>
            <a:pPr marL="285750" indent="-285750">
              <a:buFont typeface="Arial" panose="020B0604020202020204" pitchFamily="34" charset="0"/>
              <a:buChar char="•"/>
            </a:pPr>
            <a:r>
              <a:rPr lang="en-US" dirty="0">
                <a:latin typeface="Trebuchet MS" panose="020B0603020202020204" pitchFamily="34" charset="0"/>
              </a:rPr>
              <a:t>Deploying the model on web page created using StreamLit.</a:t>
            </a:r>
          </a:p>
          <a:p>
            <a:endParaRPr lang="en-US" dirty="0"/>
          </a:p>
        </p:txBody>
      </p:sp>
      <p:pic>
        <p:nvPicPr>
          <p:cNvPr id="5" name="Google Shape;108;p1">
            <a:extLst>
              <a:ext uri="{FF2B5EF4-FFF2-40B4-BE49-F238E27FC236}">
                <a16:creationId xmlns:a16="http://schemas.microsoft.com/office/drawing/2014/main" id="{BCF757FE-0032-452D-A88F-42C49ACD17AC}"/>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2285674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693D4-D9C1-4B1B-A6A2-254173E20562}"/>
              </a:ext>
            </a:extLst>
          </p:cNvPr>
          <p:cNvSpPr>
            <a:spLocks noGrp="1"/>
          </p:cNvSpPr>
          <p:nvPr>
            <p:ph type="title"/>
          </p:nvPr>
        </p:nvSpPr>
        <p:spPr>
          <a:xfrm>
            <a:off x="2938559" y="361950"/>
            <a:ext cx="3266878" cy="457200"/>
          </a:xfrm>
        </p:spPr>
        <p:txBody>
          <a:bodyPr/>
          <a:lstStyle/>
          <a:p>
            <a:r>
              <a:rPr lang="en-US" sz="3200" dirty="0"/>
              <a:t>Scope Of Project</a:t>
            </a:r>
          </a:p>
        </p:txBody>
      </p:sp>
      <p:sp>
        <p:nvSpPr>
          <p:cNvPr id="3" name="Text Placeholder 2">
            <a:extLst>
              <a:ext uri="{FF2B5EF4-FFF2-40B4-BE49-F238E27FC236}">
                <a16:creationId xmlns:a16="http://schemas.microsoft.com/office/drawing/2014/main" id="{CC9D00C6-5E6A-4DF3-9DD5-A89D2C51FA5C}"/>
              </a:ext>
            </a:extLst>
          </p:cNvPr>
          <p:cNvSpPr>
            <a:spLocks noGrp="1"/>
          </p:cNvSpPr>
          <p:nvPr>
            <p:ph type="body" idx="1"/>
          </p:nvPr>
        </p:nvSpPr>
        <p:spPr>
          <a:xfrm>
            <a:off x="457198" y="1428750"/>
            <a:ext cx="8229600" cy="1938992"/>
          </a:xfrm>
        </p:spPr>
        <p:txBody>
          <a:bodyPr/>
          <a:lstStyle/>
          <a:p>
            <a:pPr marL="285750" indent="-285750">
              <a:buFont typeface="Arial" panose="020B0604020202020204" pitchFamily="34" charset="0"/>
              <a:buChar char="•"/>
            </a:pPr>
            <a:r>
              <a:rPr lang="en-US" dirty="0">
                <a:latin typeface="Trebuchet MS" panose="020B0603020202020204" pitchFamily="34" charset="0"/>
              </a:rPr>
              <a:t>Our project is designed for analyzing various algorithms based on the given dataset and finding the optimum algorithm.</a:t>
            </a:r>
          </a:p>
          <a:p>
            <a:pPr marL="285750" indent="-285750">
              <a:buFont typeface="Arial" panose="020B0604020202020204" pitchFamily="34" charset="0"/>
              <a:buChar char="•"/>
            </a:pPr>
            <a:r>
              <a:rPr lang="en-US" dirty="0">
                <a:latin typeface="Trebuchet MS" panose="020B0603020202020204" pitchFamily="34" charset="0"/>
              </a:rPr>
              <a:t>The model can predict 91% of non hate speech and 62% offensive and hate speech. </a:t>
            </a:r>
          </a:p>
          <a:p>
            <a:pPr marL="285750" indent="-285750">
              <a:buFont typeface="Arial" panose="020B0604020202020204" pitchFamily="34" charset="0"/>
              <a:buChar char="•"/>
            </a:pPr>
            <a:r>
              <a:rPr lang="en-US" dirty="0">
                <a:latin typeface="Trebuchet MS" panose="020B0603020202020204" pitchFamily="34" charset="0"/>
              </a:rPr>
              <a:t>Two major issues that we faced in this project were :</a:t>
            </a:r>
          </a:p>
          <a:p>
            <a:pPr marL="742950" lvl="1" indent="-285750">
              <a:buFont typeface="Arial" panose="020B0604020202020204" pitchFamily="34" charset="0"/>
              <a:buChar char="•"/>
            </a:pPr>
            <a:r>
              <a:rPr lang="en-US" dirty="0">
                <a:latin typeface="Trebuchet MS" panose="020B0603020202020204" pitchFamily="34" charset="0"/>
              </a:rPr>
              <a:t>Imbalanced dataset</a:t>
            </a:r>
          </a:p>
          <a:p>
            <a:pPr marL="742950" lvl="1" indent="-285750">
              <a:buFont typeface="Arial" panose="020B0604020202020204" pitchFamily="34" charset="0"/>
              <a:buChar char="•"/>
            </a:pPr>
            <a:r>
              <a:rPr lang="en-US" dirty="0">
                <a:latin typeface="Trebuchet MS" panose="020B0603020202020204" pitchFamily="34" charset="0"/>
              </a:rPr>
              <a:t>Difficulty of the model to understand hate speech</a:t>
            </a:r>
          </a:p>
        </p:txBody>
      </p:sp>
      <p:pic>
        <p:nvPicPr>
          <p:cNvPr id="4" name="Google Shape;108;p1">
            <a:extLst>
              <a:ext uri="{FF2B5EF4-FFF2-40B4-BE49-F238E27FC236}">
                <a16:creationId xmlns:a16="http://schemas.microsoft.com/office/drawing/2014/main" id="{C4C23883-63D0-40D8-B70D-FBBDD095A03F}"/>
              </a:ext>
            </a:extLst>
          </p:cNvPr>
          <p:cNvPicPr preferRelativeResize="0"/>
          <p:nvPr/>
        </p:nvPicPr>
        <p:blipFill rotWithShape="1">
          <a:blip r:embed="rId2">
            <a:alphaModFix/>
          </a:blip>
          <a:srcRect/>
          <a:stretch/>
        </p:blipFill>
        <p:spPr>
          <a:xfrm>
            <a:off x="8712986" y="4782288"/>
            <a:ext cx="346788" cy="335193"/>
          </a:xfrm>
          <a:prstGeom prst="rect">
            <a:avLst/>
          </a:prstGeom>
          <a:noFill/>
          <a:ln>
            <a:noFill/>
          </a:ln>
        </p:spPr>
      </p:pic>
      <p:pic>
        <p:nvPicPr>
          <p:cNvPr id="3074" name="Picture 2" descr="project scope &amp; specification - Addvance Business Solutions">
            <a:extLst>
              <a:ext uri="{FF2B5EF4-FFF2-40B4-BE49-F238E27FC236}">
                <a16:creationId xmlns:a16="http://schemas.microsoft.com/office/drawing/2014/main" id="{F63AB3FF-94D4-44F9-9BBB-AA59ED65C0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2876550"/>
            <a:ext cx="2406316"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383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Chevron 5">
            <a:extLst>
              <a:ext uri="{FF2B5EF4-FFF2-40B4-BE49-F238E27FC236}">
                <a16:creationId xmlns:a16="http://schemas.microsoft.com/office/drawing/2014/main" id="{B02482FB-E7E9-4E05-827F-4A27D008725B}"/>
              </a:ext>
            </a:extLst>
          </p:cNvPr>
          <p:cNvSpPr/>
          <p:nvPr/>
        </p:nvSpPr>
        <p:spPr>
          <a:xfrm>
            <a:off x="1547964" y="281216"/>
            <a:ext cx="762000" cy="614134"/>
          </a:xfrm>
          <a:prstGeom prst="chevron">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a:extLst>
              <a:ext uri="{FF2B5EF4-FFF2-40B4-BE49-F238E27FC236}">
                <a16:creationId xmlns:a16="http://schemas.microsoft.com/office/drawing/2014/main" id="{0F648362-53E2-4706-A5A5-E4B0E1022FF9}"/>
              </a:ext>
            </a:extLst>
          </p:cNvPr>
          <p:cNvSpPr/>
          <p:nvPr/>
        </p:nvSpPr>
        <p:spPr>
          <a:xfrm>
            <a:off x="2005164" y="281216"/>
            <a:ext cx="5257800" cy="614134"/>
          </a:xfrm>
          <a:prstGeom prst="rect">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Chevron 7">
            <a:extLst>
              <a:ext uri="{FF2B5EF4-FFF2-40B4-BE49-F238E27FC236}">
                <a16:creationId xmlns:a16="http://schemas.microsoft.com/office/drawing/2014/main" id="{27852B48-0955-465F-842A-529B479D270E}"/>
              </a:ext>
            </a:extLst>
          </p:cNvPr>
          <p:cNvSpPr/>
          <p:nvPr/>
        </p:nvSpPr>
        <p:spPr>
          <a:xfrm flipH="1">
            <a:off x="6805764" y="281216"/>
            <a:ext cx="762000" cy="614134"/>
          </a:xfrm>
          <a:prstGeom prst="chevron">
            <a:avLst/>
          </a:prstGeom>
          <a:solidFill>
            <a:srgbClr val="1C8D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B3E3F9EA-8909-4E92-BCBE-92573665D402}"/>
              </a:ext>
            </a:extLst>
          </p:cNvPr>
          <p:cNvSpPr>
            <a:spLocks noGrp="1"/>
          </p:cNvSpPr>
          <p:nvPr>
            <p:ph type="title"/>
          </p:nvPr>
        </p:nvSpPr>
        <p:spPr>
          <a:xfrm>
            <a:off x="2500384" y="325263"/>
            <a:ext cx="4207571" cy="492443"/>
          </a:xfrm>
        </p:spPr>
        <p:txBody>
          <a:bodyPr/>
          <a:lstStyle/>
          <a:p>
            <a:r>
              <a:rPr lang="en-US" sz="3200" dirty="0">
                <a:solidFill>
                  <a:schemeClr val="bg1"/>
                </a:solidFill>
              </a:rPr>
              <a:t>System Block Diagram</a:t>
            </a:r>
          </a:p>
        </p:txBody>
      </p:sp>
      <p:pic>
        <p:nvPicPr>
          <p:cNvPr id="4" name="Picture 2" descr="C:\Users\SHAUN D'SILVA\Desktop\WhatsApp Image 2020-04-20 at 6.20.09 PM.jpeg">
            <a:extLst>
              <a:ext uri="{FF2B5EF4-FFF2-40B4-BE49-F238E27FC236}">
                <a16:creationId xmlns:a16="http://schemas.microsoft.com/office/drawing/2014/main" id="{C76B3148-46EE-44BD-A0F2-0EAA96D7A2A9}"/>
              </a:ext>
            </a:extLst>
          </p:cNvPr>
          <p:cNvPicPr>
            <a:picLocks noChangeAspect="1" noChangeArrowheads="1"/>
          </p:cNvPicPr>
          <p:nvPr/>
        </p:nvPicPr>
        <p:blipFill>
          <a:blip r:embed="rId2"/>
          <a:srcRect/>
          <a:stretch>
            <a:fillRect/>
          </a:stretch>
        </p:blipFill>
        <p:spPr bwMode="auto">
          <a:xfrm>
            <a:off x="1209782" y="1142991"/>
            <a:ext cx="6357982" cy="3429024"/>
          </a:xfrm>
          <a:prstGeom prst="rect">
            <a:avLst/>
          </a:prstGeom>
          <a:noFill/>
        </p:spPr>
      </p:pic>
      <p:sp>
        <p:nvSpPr>
          <p:cNvPr id="3" name="TextBox 2">
            <a:extLst>
              <a:ext uri="{FF2B5EF4-FFF2-40B4-BE49-F238E27FC236}">
                <a16:creationId xmlns:a16="http://schemas.microsoft.com/office/drawing/2014/main" id="{BC721070-5931-4EAA-8BD8-6A2E42868033}"/>
              </a:ext>
            </a:extLst>
          </p:cNvPr>
          <p:cNvSpPr txBox="1"/>
          <p:nvPr/>
        </p:nvSpPr>
        <p:spPr>
          <a:xfrm>
            <a:off x="3055509" y="4572015"/>
            <a:ext cx="3097323" cy="369332"/>
          </a:xfrm>
          <a:prstGeom prst="rect">
            <a:avLst/>
          </a:prstGeom>
          <a:noFill/>
        </p:spPr>
        <p:txBody>
          <a:bodyPr wrap="none" rtlCol="0">
            <a:spAutoFit/>
          </a:bodyPr>
          <a:lstStyle/>
          <a:p>
            <a:r>
              <a:rPr lang="en-US" dirty="0">
                <a:latin typeface="Trebuchet MS" panose="020B0603020202020204" pitchFamily="34" charset="0"/>
              </a:rPr>
              <a:t>Fig 1. System Block Diagram</a:t>
            </a:r>
          </a:p>
        </p:txBody>
      </p:sp>
      <p:pic>
        <p:nvPicPr>
          <p:cNvPr id="5" name="Google Shape;108;p1">
            <a:extLst>
              <a:ext uri="{FF2B5EF4-FFF2-40B4-BE49-F238E27FC236}">
                <a16:creationId xmlns:a16="http://schemas.microsoft.com/office/drawing/2014/main" id="{B90BC2D7-1DD2-4871-B614-5572C59F59CE}"/>
              </a:ext>
            </a:extLst>
          </p:cNvPr>
          <p:cNvPicPr preferRelativeResize="0"/>
          <p:nvPr/>
        </p:nvPicPr>
        <p:blipFill rotWithShape="1">
          <a:blip r:embed="rId3">
            <a:alphaModFix/>
          </a:blip>
          <a:srcRect/>
          <a:stretch/>
        </p:blipFill>
        <p:spPr>
          <a:xfrm>
            <a:off x="8712986" y="4782288"/>
            <a:ext cx="346788" cy="335193"/>
          </a:xfrm>
          <a:prstGeom prst="rect">
            <a:avLst/>
          </a:prstGeom>
          <a:noFill/>
          <a:ln>
            <a:noFill/>
          </a:ln>
        </p:spPr>
      </p:pic>
    </p:spTree>
    <p:extLst>
      <p:ext uri="{BB962C8B-B14F-4D97-AF65-F5344CB8AC3E}">
        <p14:creationId xmlns:p14="http://schemas.microsoft.com/office/powerpoint/2010/main" val="533946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DniouTw2GU9T5qNU5LC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DniouTw2GU9T5qNU5LC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DniouTw2GU9T5qNU5LC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79</TotalTime>
  <Words>1401</Words>
  <Application>Microsoft Office PowerPoint</Application>
  <PresentationFormat>On-screen Show (16:9)</PresentationFormat>
  <Paragraphs>242</Paragraphs>
  <Slides>29</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1" baseType="lpstr">
      <vt:lpstr>Arial</vt:lpstr>
      <vt:lpstr>Arial Black</vt:lpstr>
      <vt:lpstr>Bell MT</vt:lpstr>
      <vt:lpstr>Calibri</vt:lpstr>
      <vt:lpstr>Franklin Gothic Medium Cond</vt:lpstr>
      <vt:lpstr>Gill Sans MT</vt:lpstr>
      <vt:lpstr>Gill Sans Ultra Bold</vt:lpstr>
      <vt:lpstr>Impact</vt:lpstr>
      <vt:lpstr>Times New Roman</vt:lpstr>
      <vt:lpstr>Trebuchet MS</vt:lpstr>
      <vt:lpstr>Office Theme</vt:lpstr>
      <vt:lpstr>think-cell Slide</vt:lpstr>
      <vt:lpstr>PowerPoint Presentation</vt:lpstr>
      <vt:lpstr>PowerPoint Presentation</vt:lpstr>
      <vt:lpstr>Introduction</vt:lpstr>
      <vt:lpstr>Daily Event</vt:lpstr>
      <vt:lpstr>PowerPoint Presentation</vt:lpstr>
      <vt:lpstr>Daily Event</vt:lpstr>
      <vt:lpstr>Problem Definition &amp; Proposed Solution</vt:lpstr>
      <vt:lpstr>Scope Of Project</vt:lpstr>
      <vt:lpstr>System Block Diagram</vt:lpstr>
      <vt:lpstr>Use Case Diagram</vt:lpstr>
      <vt:lpstr>Activity Diagram</vt:lpstr>
      <vt:lpstr>Activity Diagram</vt:lpstr>
      <vt:lpstr>Sequence Diagram</vt:lpstr>
      <vt:lpstr>Data flow Diagram</vt:lpstr>
      <vt:lpstr>Data flow Diagram</vt:lpstr>
      <vt:lpstr>Data flow Diagram</vt:lpstr>
      <vt:lpstr>Modeling Process</vt:lpstr>
      <vt:lpstr>Hardware &amp; Software  Requirements</vt:lpstr>
      <vt:lpstr>PowerPoint Presentation</vt:lpstr>
      <vt:lpstr>User Interface Design</vt:lpstr>
      <vt:lpstr>PowerPoint Presentation</vt:lpstr>
      <vt:lpstr>Results</vt:lpstr>
      <vt:lpstr>Baseline Model</vt:lpstr>
      <vt:lpstr>PowerPoint Presentation</vt:lpstr>
      <vt:lpstr>PowerPoint Presentation</vt:lpstr>
      <vt:lpstr>Conclusion</vt:lpstr>
      <vt:lpstr>Literature Cited</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un Dsilva</dc:creator>
  <cp:lastModifiedBy>Shaun Dsilva</cp:lastModifiedBy>
  <cp:revision>363</cp:revision>
  <dcterms:created xsi:type="dcterms:W3CDTF">2021-04-09T19:12:02Z</dcterms:created>
  <dcterms:modified xsi:type="dcterms:W3CDTF">2021-05-23T17:3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or">
    <vt:lpwstr>Google</vt:lpwstr>
  </property>
</Properties>
</file>